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29"/>
  </p:notesMasterIdLst>
  <p:sldIdLst>
    <p:sldId id="5220" r:id="rId5"/>
    <p:sldId id="5244" r:id="rId6"/>
    <p:sldId id="5249" r:id="rId7"/>
    <p:sldId id="5261" r:id="rId8"/>
    <p:sldId id="5271" r:id="rId9"/>
    <p:sldId id="5285" r:id="rId10"/>
    <p:sldId id="5268" r:id="rId11"/>
    <p:sldId id="5272" r:id="rId12"/>
    <p:sldId id="5273" r:id="rId13"/>
    <p:sldId id="5274" r:id="rId14"/>
    <p:sldId id="5276" r:id="rId15"/>
    <p:sldId id="5277" r:id="rId16"/>
    <p:sldId id="5278" r:id="rId17"/>
    <p:sldId id="5255" r:id="rId18"/>
    <p:sldId id="5238" r:id="rId19"/>
    <p:sldId id="5281" r:id="rId20"/>
    <p:sldId id="5282" r:id="rId21"/>
    <p:sldId id="5283" r:id="rId22"/>
    <p:sldId id="5250" r:id="rId23"/>
    <p:sldId id="5266" r:id="rId24"/>
    <p:sldId id="5251" r:id="rId25"/>
    <p:sldId id="5279" r:id="rId26"/>
    <p:sldId id="5280" r:id="rId27"/>
    <p:sldId id="5284" r:id="rId2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685"/>
    <a:srgbClr val="FFFFFF"/>
    <a:srgbClr val="C0504D"/>
    <a:srgbClr val="00C9FF"/>
    <a:srgbClr val="4472C4"/>
    <a:srgbClr val="0093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56FE31-FFE1-49E8-A67E-8CC944920BFD}" v="2352" dt="2023-08-08T14:27:19.565"/>
    <p1510:client id="{80E27BDC-DAAA-482B-AF0D-DCDB0942976E}" vWet="4" dt="2023-08-08T07:38:43.8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57" autoAdjust="0"/>
  </p:normalViewPr>
  <p:slideViewPr>
    <p:cSldViewPr snapToGrid="0">
      <p:cViewPr>
        <p:scale>
          <a:sx n="75" d="100"/>
          <a:sy n="75" d="100"/>
        </p:scale>
        <p:origin x="28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ic Guillot" userId="0fc2d07e-ea6a-4f5d-b4bd-9b71a401db7e" providerId="ADAL" clId="{3A56FE31-FFE1-49E8-A67E-8CC944920BFD}"/>
    <pc:docChg chg="undo custSel addSld delSld modSld sldOrd">
      <pc:chgData name="Loic Guillot" userId="0fc2d07e-ea6a-4f5d-b4bd-9b71a401db7e" providerId="ADAL" clId="{3A56FE31-FFE1-49E8-A67E-8CC944920BFD}" dt="2023-08-08T14:27:19.565" v="4540"/>
      <pc:docMkLst>
        <pc:docMk/>
      </pc:docMkLst>
      <pc:sldChg chg="modSp mod">
        <pc:chgData name="Loic Guillot" userId="0fc2d07e-ea6a-4f5d-b4bd-9b71a401db7e" providerId="ADAL" clId="{3A56FE31-FFE1-49E8-A67E-8CC944920BFD}" dt="2023-08-08T14:27:06.569" v="4539" actId="20577"/>
        <pc:sldMkLst>
          <pc:docMk/>
          <pc:sldMk cId="1792573727" sldId="5220"/>
        </pc:sldMkLst>
        <pc:spChg chg="mod">
          <ac:chgData name="Loic Guillot" userId="0fc2d07e-ea6a-4f5d-b4bd-9b71a401db7e" providerId="ADAL" clId="{3A56FE31-FFE1-49E8-A67E-8CC944920BFD}" dt="2023-08-08T14:27:06.569" v="4539" actId="20577"/>
          <ac:spMkLst>
            <pc:docMk/>
            <pc:sldMk cId="1792573727" sldId="5220"/>
            <ac:spMk id="3" creationId="{BAA9D593-B782-429E-9112-4B900F6BC675}"/>
          </ac:spMkLst>
        </pc:spChg>
      </pc:sldChg>
      <pc:sldChg chg="del">
        <pc:chgData name="Loic Guillot" userId="0fc2d07e-ea6a-4f5d-b4bd-9b71a401db7e" providerId="ADAL" clId="{3A56FE31-FFE1-49E8-A67E-8CC944920BFD}" dt="2023-08-07T09:09:17.408" v="2515" actId="47"/>
        <pc:sldMkLst>
          <pc:docMk/>
          <pc:sldMk cId="1461056173" sldId="5224"/>
        </pc:sldMkLst>
      </pc:sldChg>
      <pc:sldChg chg="del">
        <pc:chgData name="Loic Guillot" userId="0fc2d07e-ea6a-4f5d-b4bd-9b71a401db7e" providerId="ADAL" clId="{3A56FE31-FFE1-49E8-A67E-8CC944920BFD}" dt="2023-08-07T09:09:20.110" v="2518" actId="47"/>
        <pc:sldMkLst>
          <pc:docMk/>
          <pc:sldMk cId="713150991" sldId="5226"/>
        </pc:sldMkLst>
      </pc:sldChg>
      <pc:sldChg chg="del">
        <pc:chgData name="Loic Guillot" userId="0fc2d07e-ea6a-4f5d-b4bd-9b71a401db7e" providerId="ADAL" clId="{3A56FE31-FFE1-49E8-A67E-8CC944920BFD}" dt="2023-08-07T09:09:12.408" v="2509" actId="47"/>
        <pc:sldMkLst>
          <pc:docMk/>
          <pc:sldMk cId="1871923889" sldId="5230"/>
        </pc:sldMkLst>
      </pc:sldChg>
      <pc:sldChg chg="addSp delSp modSp mod ord">
        <pc:chgData name="Loic Guillot" userId="0fc2d07e-ea6a-4f5d-b4bd-9b71a401db7e" providerId="ADAL" clId="{3A56FE31-FFE1-49E8-A67E-8CC944920BFD}" dt="2023-08-08T08:38:07.557" v="4009" actId="20577"/>
        <pc:sldMkLst>
          <pc:docMk/>
          <pc:sldMk cId="764429406" sldId="5238"/>
        </pc:sldMkLst>
        <pc:spChg chg="mod">
          <ac:chgData name="Loic Guillot" userId="0fc2d07e-ea6a-4f5d-b4bd-9b71a401db7e" providerId="ADAL" clId="{3A56FE31-FFE1-49E8-A67E-8CC944920BFD}" dt="2023-08-07T09:12:05.236" v="2558" actId="20577"/>
          <ac:spMkLst>
            <pc:docMk/>
            <pc:sldMk cId="764429406" sldId="5238"/>
            <ac:spMk id="2" creationId="{169F307C-B246-6CE8-631C-5629F6F55C0D}"/>
          </ac:spMkLst>
        </pc:spChg>
        <pc:spChg chg="add mod">
          <ac:chgData name="Loic Guillot" userId="0fc2d07e-ea6a-4f5d-b4bd-9b71a401db7e" providerId="ADAL" clId="{3A56FE31-FFE1-49E8-A67E-8CC944920BFD}" dt="2023-08-08T08:38:07.557" v="4009" actId="20577"/>
          <ac:spMkLst>
            <pc:docMk/>
            <pc:sldMk cId="764429406" sldId="5238"/>
            <ac:spMk id="6" creationId="{CF7E3AB5-DB33-6D52-00F5-87108F336876}"/>
          </ac:spMkLst>
        </pc:spChg>
        <pc:spChg chg="del">
          <ac:chgData name="Loic Guillot" userId="0fc2d07e-ea6a-4f5d-b4bd-9b71a401db7e" providerId="ADAL" clId="{3A56FE31-FFE1-49E8-A67E-8CC944920BFD}" dt="2023-08-07T09:11:18.482" v="2542" actId="478"/>
          <ac:spMkLst>
            <pc:docMk/>
            <pc:sldMk cId="764429406" sldId="5238"/>
            <ac:spMk id="7" creationId="{B14CFF08-7A10-0ACD-AC43-EBE7B0C9ABDE}"/>
          </ac:spMkLst>
        </pc:spChg>
        <pc:spChg chg="mod">
          <ac:chgData name="Loic Guillot" userId="0fc2d07e-ea6a-4f5d-b4bd-9b71a401db7e" providerId="ADAL" clId="{3A56FE31-FFE1-49E8-A67E-8CC944920BFD}" dt="2023-08-07T09:09:33.816" v="2521" actId="1076"/>
          <ac:spMkLst>
            <pc:docMk/>
            <pc:sldMk cId="764429406" sldId="5238"/>
            <ac:spMk id="11" creationId="{003C3BA6-2339-8CFF-5969-4934369A9A62}"/>
          </ac:spMkLst>
        </pc:spChg>
        <pc:spChg chg="del">
          <ac:chgData name="Loic Guillot" userId="0fc2d07e-ea6a-4f5d-b4bd-9b71a401db7e" providerId="ADAL" clId="{3A56FE31-FFE1-49E8-A67E-8CC944920BFD}" dt="2023-08-07T09:09:32.218" v="2520" actId="478"/>
          <ac:spMkLst>
            <pc:docMk/>
            <pc:sldMk cId="764429406" sldId="5238"/>
            <ac:spMk id="12" creationId="{20E482E3-79F2-BAAA-2F4F-4B9EACE6E9BC}"/>
          </ac:spMkLst>
        </pc:spChg>
      </pc:sldChg>
      <pc:sldChg chg="del">
        <pc:chgData name="Loic Guillot" userId="0fc2d07e-ea6a-4f5d-b4bd-9b71a401db7e" providerId="ADAL" clId="{3A56FE31-FFE1-49E8-A67E-8CC944920BFD}" dt="2023-08-07T09:09:18.335" v="2516" actId="47"/>
        <pc:sldMkLst>
          <pc:docMk/>
          <pc:sldMk cId="520735542" sldId="5243"/>
        </pc:sldMkLst>
      </pc:sldChg>
      <pc:sldChg chg="addSp delSp modSp mod ord">
        <pc:chgData name="Loic Guillot" userId="0fc2d07e-ea6a-4f5d-b4bd-9b71a401db7e" providerId="ADAL" clId="{3A56FE31-FFE1-49E8-A67E-8CC944920BFD}" dt="2023-08-08T07:55:58.091" v="3360" actId="14100"/>
        <pc:sldMkLst>
          <pc:docMk/>
          <pc:sldMk cId="2214350618" sldId="5251"/>
        </pc:sldMkLst>
        <pc:spChg chg="mod">
          <ac:chgData name="Loic Guillot" userId="0fc2d07e-ea6a-4f5d-b4bd-9b71a401db7e" providerId="ADAL" clId="{3A56FE31-FFE1-49E8-A67E-8CC944920BFD}" dt="2023-08-07T14:24:20.632" v="2605" actId="20577"/>
          <ac:spMkLst>
            <pc:docMk/>
            <pc:sldMk cId="2214350618" sldId="5251"/>
            <ac:spMk id="2" creationId="{8EEA4759-6F64-1373-B589-10C63C508ED0}"/>
          </ac:spMkLst>
        </pc:spChg>
        <pc:spChg chg="del">
          <ac:chgData name="Loic Guillot" userId="0fc2d07e-ea6a-4f5d-b4bd-9b71a401db7e" providerId="ADAL" clId="{3A56FE31-FFE1-49E8-A67E-8CC944920BFD}" dt="2023-08-07T14:19:38.149" v="2601" actId="478"/>
          <ac:spMkLst>
            <pc:docMk/>
            <pc:sldMk cId="2214350618" sldId="5251"/>
            <ac:spMk id="20" creationId="{6DB7761A-349A-FB95-AF61-1C2E9F68279E}"/>
          </ac:spMkLst>
        </pc:spChg>
        <pc:spChg chg="del">
          <ac:chgData name="Loic Guillot" userId="0fc2d07e-ea6a-4f5d-b4bd-9b71a401db7e" providerId="ADAL" clId="{3A56FE31-FFE1-49E8-A67E-8CC944920BFD}" dt="2023-08-07T14:18:51.804" v="2582" actId="478"/>
          <ac:spMkLst>
            <pc:docMk/>
            <pc:sldMk cId="2214350618" sldId="5251"/>
            <ac:spMk id="24" creationId="{B78C0058-FD4E-5B31-1F72-66AD7218735D}"/>
          </ac:spMkLst>
        </pc:spChg>
        <pc:spChg chg="add mod">
          <ac:chgData name="Loic Guillot" userId="0fc2d07e-ea6a-4f5d-b4bd-9b71a401db7e" providerId="ADAL" clId="{3A56FE31-FFE1-49E8-A67E-8CC944920BFD}" dt="2023-08-08T07:44:52.527" v="2836" actId="20577"/>
          <ac:spMkLst>
            <pc:docMk/>
            <pc:sldMk cId="2214350618" sldId="5251"/>
            <ac:spMk id="25" creationId="{125E2075-9107-9157-0ABB-BD731786C868}"/>
          </ac:spMkLst>
        </pc:spChg>
        <pc:spChg chg="add mod">
          <ac:chgData name="Loic Guillot" userId="0fc2d07e-ea6a-4f5d-b4bd-9b71a401db7e" providerId="ADAL" clId="{3A56FE31-FFE1-49E8-A67E-8CC944920BFD}" dt="2023-08-08T07:55:58.091" v="3360" actId="14100"/>
          <ac:spMkLst>
            <pc:docMk/>
            <pc:sldMk cId="2214350618" sldId="5251"/>
            <ac:spMk id="26" creationId="{A2738DE6-9C8B-E55E-77FF-F3E166B312B4}"/>
          </ac:spMkLst>
        </pc:spChg>
        <pc:spChg chg="add mod">
          <ac:chgData name="Loic Guillot" userId="0fc2d07e-ea6a-4f5d-b4bd-9b71a401db7e" providerId="ADAL" clId="{3A56FE31-FFE1-49E8-A67E-8CC944920BFD}" dt="2023-08-08T07:53:01.295" v="3244" actId="14100"/>
          <ac:spMkLst>
            <pc:docMk/>
            <pc:sldMk cId="2214350618" sldId="5251"/>
            <ac:spMk id="27" creationId="{43081122-7955-9058-8E8E-2C5C46DBA741}"/>
          </ac:spMkLst>
        </pc:spChg>
        <pc:spChg chg="add mod">
          <ac:chgData name="Loic Guillot" userId="0fc2d07e-ea6a-4f5d-b4bd-9b71a401db7e" providerId="ADAL" clId="{3A56FE31-FFE1-49E8-A67E-8CC944920BFD}" dt="2023-08-08T07:54:47.527" v="3324" actId="14100"/>
          <ac:spMkLst>
            <pc:docMk/>
            <pc:sldMk cId="2214350618" sldId="5251"/>
            <ac:spMk id="28" creationId="{43BA3F7A-13DE-A68F-FC90-C8137EC5421B}"/>
          </ac:spMkLst>
        </pc:spChg>
        <pc:spChg chg="mod">
          <ac:chgData name="Loic Guillot" userId="0fc2d07e-ea6a-4f5d-b4bd-9b71a401db7e" providerId="ADAL" clId="{3A56FE31-FFE1-49E8-A67E-8CC944920BFD}" dt="2023-08-08T07:45:01.876" v="2837" actId="20577"/>
          <ac:spMkLst>
            <pc:docMk/>
            <pc:sldMk cId="2214350618" sldId="5251"/>
            <ac:spMk id="38" creationId="{226DAC66-A51D-EEC1-73EA-19DEB0E670BB}"/>
          </ac:spMkLst>
        </pc:spChg>
      </pc:sldChg>
      <pc:sldChg chg="modSp mod ord">
        <pc:chgData name="Loic Guillot" userId="0fc2d07e-ea6a-4f5d-b4bd-9b71a401db7e" providerId="ADAL" clId="{3A56FE31-FFE1-49E8-A67E-8CC944920BFD}" dt="2023-08-08T14:27:19.565" v="4540"/>
        <pc:sldMkLst>
          <pc:docMk/>
          <pc:sldMk cId="770676338" sldId="5255"/>
        </pc:sldMkLst>
        <pc:spChg chg="mod">
          <ac:chgData name="Loic Guillot" userId="0fc2d07e-ea6a-4f5d-b4bd-9b71a401db7e" providerId="ADAL" clId="{3A56FE31-FFE1-49E8-A67E-8CC944920BFD}" dt="2023-08-08T14:27:19.565" v="4540"/>
          <ac:spMkLst>
            <pc:docMk/>
            <pc:sldMk cId="770676338" sldId="5255"/>
            <ac:spMk id="3" creationId="{81C2649B-C736-58AA-1D4A-F36E9703DB6B}"/>
          </ac:spMkLst>
        </pc:spChg>
      </pc:sldChg>
      <pc:sldChg chg="del">
        <pc:chgData name="Loic Guillot" userId="0fc2d07e-ea6a-4f5d-b4bd-9b71a401db7e" providerId="ADAL" clId="{3A56FE31-FFE1-49E8-A67E-8CC944920BFD}" dt="2023-08-07T09:09:10.123" v="2507" actId="47"/>
        <pc:sldMkLst>
          <pc:docMk/>
          <pc:sldMk cId="2639399307" sldId="5256"/>
        </pc:sldMkLst>
      </pc:sldChg>
      <pc:sldChg chg="del">
        <pc:chgData name="Loic Guillot" userId="0fc2d07e-ea6a-4f5d-b4bd-9b71a401db7e" providerId="ADAL" clId="{3A56FE31-FFE1-49E8-A67E-8CC944920BFD}" dt="2023-08-07T09:09:15.421" v="2513" actId="47"/>
        <pc:sldMkLst>
          <pc:docMk/>
          <pc:sldMk cId="1505570569" sldId="5257"/>
        </pc:sldMkLst>
      </pc:sldChg>
      <pc:sldChg chg="del">
        <pc:chgData name="Loic Guillot" userId="0fc2d07e-ea6a-4f5d-b4bd-9b71a401db7e" providerId="ADAL" clId="{3A56FE31-FFE1-49E8-A67E-8CC944920BFD}" dt="2023-08-07T09:09:16.463" v="2514" actId="47"/>
        <pc:sldMkLst>
          <pc:docMk/>
          <pc:sldMk cId="2052032126" sldId="5258"/>
        </pc:sldMkLst>
      </pc:sldChg>
      <pc:sldChg chg="del">
        <pc:chgData name="Loic Guillot" userId="0fc2d07e-ea6a-4f5d-b4bd-9b71a401db7e" providerId="ADAL" clId="{3A56FE31-FFE1-49E8-A67E-8CC944920BFD}" dt="2023-08-07T09:09:13.025" v="2510" actId="47"/>
        <pc:sldMkLst>
          <pc:docMk/>
          <pc:sldMk cId="532872859" sldId="5259"/>
        </pc:sldMkLst>
      </pc:sldChg>
      <pc:sldChg chg="del">
        <pc:chgData name="Loic Guillot" userId="0fc2d07e-ea6a-4f5d-b4bd-9b71a401db7e" providerId="ADAL" clId="{3A56FE31-FFE1-49E8-A67E-8CC944920BFD}" dt="2023-08-07T09:09:13.566" v="2511" actId="47"/>
        <pc:sldMkLst>
          <pc:docMk/>
          <pc:sldMk cId="1485956224" sldId="5260"/>
        </pc:sldMkLst>
      </pc:sldChg>
      <pc:sldChg chg="addSp delSp modSp mod">
        <pc:chgData name="Loic Guillot" userId="0fc2d07e-ea6a-4f5d-b4bd-9b71a401db7e" providerId="ADAL" clId="{3A56FE31-FFE1-49E8-A67E-8CC944920BFD}" dt="2023-08-07T08:37:49.536" v="1861" actId="20577"/>
        <pc:sldMkLst>
          <pc:docMk/>
          <pc:sldMk cId="3638573909" sldId="5261"/>
        </pc:sldMkLst>
        <pc:spChg chg="add del mod">
          <ac:chgData name="Loic Guillot" userId="0fc2d07e-ea6a-4f5d-b4bd-9b71a401db7e" providerId="ADAL" clId="{3A56FE31-FFE1-49E8-A67E-8CC944920BFD}" dt="2023-08-07T08:21:23.228" v="1251" actId="478"/>
          <ac:spMkLst>
            <pc:docMk/>
            <pc:sldMk cId="3638573909" sldId="5261"/>
            <ac:spMk id="2" creationId="{BC059798-FEC1-4A68-B7F0-0C122A3313FA}"/>
          </ac:spMkLst>
        </pc:spChg>
        <pc:spChg chg="add mod">
          <ac:chgData name="Loic Guillot" userId="0fc2d07e-ea6a-4f5d-b4bd-9b71a401db7e" providerId="ADAL" clId="{3A56FE31-FFE1-49E8-A67E-8CC944920BFD}" dt="2023-08-07T08:21:00.111" v="1159" actId="1076"/>
          <ac:spMkLst>
            <pc:docMk/>
            <pc:sldMk cId="3638573909" sldId="5261"/>
            <ac:spMk id="7" creationId="{64C90091-0FA0-19C0-1CD7-DD08ADD2D8B4}"/>
          </ac:spMkLst>
        </pc:spChg>
        <pc:spChg chg="add mod">
          <ac:chgData name="Loic Guillot" userId="0fc2d07e-ea6a-4f5d-b4bd-9b71a401db7e" providerId="ADAL" clId="{3A56FE31-FFE1-49E8-A67E-8CC944920BFD}" dt="2023-08-07T08:21:31.899" v="1252" actId="207"/>
          <ac:spMkLst>
            <pc:docMk/>
            <pc:sldMk cId="3638573909" sldId="5261"/>
            <ac:spMk id="8" creationId="{25698AC7-ED81-8FA2-0342-26EB62CB4C65}"/>
          </ac:spMkLst>
        </pc:spChg>
        <pc:spChg chg="del mod">
          <ac:chgData name="Loic Guillot" userId="0fc2d07e-ea6a-4f5d-b4bd-9b71a401db7e" providerId="ADAL" clId="{3A56FE31-FFE1-49E8-A67E-8CC944920BFD}" dt="2023-08-07T08:20:57.093" v="1158" actId="478"/>
          <ac:spMkLst>
            <pc:docMk/>
            <pc:sldMk cId="3638573909" sldId="5261"/>
            <ac:spMk id="12" creationId="{7C8F4498-9A40-4DEC-707D-448D932499A2}"/>
          </ac:spMkLst>
        </pc:spChg>
        <pc:spChg chg="mod">
          <ac:chgData name="Loic Guillot" userId="0fc2d07e-ea6a-4f5d-b4bd-9b71a401db7e" providerId="ADAL" clId="{3A56FE31-FFE1-49E8-A67E-8CC944920BFD}" dt="2023-08-07T08:09:13.622" v="1000" actId="1036"/>
          <ac:spMkLst>
            <pc:docMk/>
            <pc:sldMk cId="3638573909" sldId="5261"/>
            <ac:spMk id="13" creationId="{6203914D-16DF-2AAE-8C26-28C6218B4723}"/>
          </ac:spMkLst>
        </pc:spChg>
        <pc:spChg chg="mod">
          <ac:chgData name="Loic Guillot" userId="0fc2d07e-ea6a-4f5d-b4bd-9b71a401db7e" providerId="ADAL" clId="{3A56FE31-FFE1-49E8-A67E-8CC944920BFD}" dt="2023-08-07T08:37:32.296" v="1853" actId="20577"/>
          <ac:spMkLst>
            <pc:docMk/>
            <pc:sldMk cId="3638573909" sldId="5261"/>
            <ac:spMk id="14" creationId="{B1B726DA-683B-94E9-4DA1-0AD3411647EF}"/>
          </ac:spMkLst>
        </pc:spChg>
        <pc:spChg chg="mod">
          <ac:chgData name="Loic Guillot" userId="0fc2d07e-ea6a-4f5d-b4bd-9b71a401db7e" providerId="ADAL" clId="{3A56FE31-FFE1-49E8-A67E-8CC944920BFD}" dt="2023-08-07T08:09:13.622" v="1000" actId="1036"/>
          <ac:spMkLst>
            <pc:docMk/>
            <pc:sldMk cId="3638573909" sldId="5261"/>
            <ac:spMk id="15" creationId="{034E014C-F9FD-CB2F-D5E3-C0A5B02372DF}"/>
          </ac:spMkLst>
        </pc:spChg>
        <pc:spChg chg="mod">
          <ac:chgData name="Loic Guillot" userId="0fc2d07e-ea6a-4f5d-b4bd-9b71a401db7e" providerId="ADAL" clId="{3A56FE31-FFE1-49E8-A67E-8CC944920BFD}" dt="2023-08-07T08:37:39.944" v="1857" actId="20577"/>
          <ac:spMkLst>
            <pc:docMk/>
            <pc:sldMk cId="3638573909" sldId="5261"/>
            <ac:spMk id="16" creationId="{F3173823-65EE-379F-50C5-AAC1FF8A3AEF}"/>
          </ac:spMkLst>
        </pc:spChg>
        <pc:spChg chg="mod">
          <ac:chgData name="Loic Guillot" userId="0fc2d07e-ea6a-4f5d-b4bd-9b71a401db7e" providerId="ADAL" clId="{3A56FE31-FFE1-49E8-A67E-8CC944920BFD}" dt="2023-08-07T08:37:49.536" v="1861" actId="20577"/>
          <ac:spMkLst>
            <pc:docMk/>
            <pc:sldMk cId="3638573909" sldId="5261"/>
            <ac:spMk id="17" creationId="{E2CA90E0-0DEF-B151-268B-B3E68DA78B96}"/>
          </ac:spMkLst>
        </pc:spChg>
        <pc:spChg chg="mod">
          <ac:chgData name="Loic Guillot" userId="0fc2d07e-ea6a-4f5d-b4bd-9b71a401db7e" providerId="ADAL" clId="{3A56FE31-FFE1-49E8-A67E-8CC944920BFD}" dt="2023-08-07T08:09:13.622" v="1000" actId="1036"/>
          <ac:spMkLst>
            <pc:docMk/>
            <pc:sldMk cId="3638573909" sldId="5261"/>
            <ac:spMk id="18" creationId="{10125F7C-E210-69F2-765D-AF92B4FE2E7E}"/>
          </ac:spMkLst>
        </pc:spChg>
        <pc:spChg chg="mod">
          <ac:chgData name="Loic Guillot" userId="0fc2d07e-ea6a-4f5d-b4bd-9b71a401db7e" providerId="ADAL" clId="{3A56FE31-FFE1-49E8-A67E-8CC944920BFD}" dt="2023-08-07T08:09:13.622" v="1000" actId="1036"/>
          <ac:spMkLst>
            <pc:docMk/>
            <pc:sldMk cId="3638573909" sldId="5261"/>
            <ac:spMk id="19" creationId="{EE3F81AB-10AC-DAAF-D027-538C9E774C92}"/>
          </ac:spMkLst>
        </pc:spChg>
        <pc:spChg chg="mod">
          <ac:chgData name="Loic Guillot" userId="0fc2d07e-ea6a-4f5d-b4bd-9b71a401db7e" providerId="ADAL" clId="{3A56FE31-FFE1-49E8-A67E-8CC944920BFD}" dt="2023-08-07T08:09:13.622" v="1000" actId="1036"/>
          <ac:spMkLst>
            <pc:docMk/>
            <pc:sldMk cId="3638573909" sldId="5261"/>
            <ac:spMk id="20" creationId="{4387BEC3-D17D-5E3A-F40F-87C335FECB86}"/>
          </ac:spMkLst>
        </pc:sp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23" creationId="{3D4161F2-0A24-B021-443C-7DFDC82DD4E4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25" creationId="{884273B2-2A3F-9F91-A659-F7989DC6FB1D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27" creationId="{0A01D453-AF8E-077A-49B3-5F4B0EC9B264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29" creationId="{FE8AEF08-24B3-6421-F6F2-517907C5F99D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31" creationId="{82A1719C-B28B-DA5B-CBA3-0256A3642FD6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33" creationId="{E5279C88-FEDD-4C73-2349-83736614CC56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35" creationId="{4D69F4B8-ED12-63FA-0A05-B9344872E035}"/>
          </ac:cxnSpMkLst>
        </pc:cxnChg>
        <pc:cxnChg chg="mod">
          <ac:chgData name="Loic Guillot" userId="0fc2d07e-ea6a-4f5d-b4bd-9b71a401db7e" providerId="ADAL" clId="{3A56FE31-FFE1-49E8-A67E-8CC944920BFD}" dt="2023-08-07T08:09:13.622" v="1000" actId="1036"/>
          <ac:cxnSpMkLst>
            <pc:docMk/>
            <pc:sldMk cId="3638573909" sldId="5261"/>
            <ac:cxnSpMk id="37" creationId="{DD1B4F01-C975-C97B-57C4-6EF7AEA6C247}"/>
          </ac:cxnSpMkLst>
        </pc:cxnChg>
      </pc:sldChg>
      <pc:sldChg chg="del">
        <pc:chgData name="Loic Guillot" userId="0fc2d07e-ea6a-4f5d-b4bd-9b71a401db7e" providerId="ADAL" clId="{3A56FE31-FFE1-49E8-A67E-8CC944920BFD}" dt="2023-08-07T09:09:19.413" v="2517" actId="47"/>
        <pc:sldMkLst>
          <pc:docMk/>
          <pc:sldMk cId="1014892878" sldId="5263"/>
        </pc:sldMkLst>
      </pc:sldChg>
      <pc:sldChg chg="del">
        <pc:chgData name="Loic Guillot" userId="0fc2d07e-ea6a-4f5d-b4bd-9b71a401db7e" providerId="ADAL" clId="{3A56FE31-FFE1-49E8-A67E-8CC944920BFD}" dt="2023-08-07T09:09:14.469" v="2512" actId="47"/>
        <pc:sldMkLst>
          <pc:docMk/>
          <pc:sldMk cId="2981363632" sldId="5264"/>
        </pc:sldMkLst>
      </pc:sldChg>
      <pc:sldChg chg="del">
        <pc:chgData name="Loic Guillot" userId="0fc2d07e-ea6a-4f5d-b4bd-9b71a401db7e" providerId="ADAL" clId="{3A56FE31-FFE1-49E8-A67E-8CC944920BFD}" dt="2023-08-07T09:09:20.737" v="2519" actId="47"/>
        <pc:sldMkLst>
          <pc:docMk/>
          <pc:sldMk cId="3683784460" sldId="5265"/>
        </pc:sldMkLst>
      </pc:sldChg>
      <pc:sldChg chg="addSp delSp modSp mod">
        <pc:chgData name="Loic Guillot" userId="0fc2d07e-ea6a-4f5d-b4bd-9b71a401db7e" providerId="ADAL" clId="{3A56FE31-FFE1-49E8-A67E-8CC944920BFD}" dt="2023-08-07T14:14:11.039" v="2564" actId="14100"/>
        <pc:sldMkLst>
          <pc:docMk/>
          <pc:sldMk cId="693469184" sldId="5266"/>
        </pc:sldMkLst>
        <pc:spChg chg="del">
          <ac:chgData name="Loic Guillot" userId="0fc2d07e-ea6a-4f5d-b4bd-9b71a401db7e" providerId="ADAL" clId="{3A56FE31-FFE1-49E8-A67E-8CC944920BFD}" dt="2023-08-07T14:13:51.988" v="2559" actId="478"/>
          <ac:spMkLst>
            <pc:docMk/>
            <pc:sldMk cId="693469184" sldId="5266"/>
            <ac:spMk id="27" creationId="{8B4769B0-7841-99CE-C058-4A51958F5D58}"/>
          </ac:spMkLst>
        </pc:spChg>
        <pc:picChg chg="add mod modCrop">
          <ac:chgData name="Loic Guillot" userId="0fc2d07e-ea6a-4f5d-b4bd-9b71a401db7e" providerId="ADAL" clId="{3A56FE31-FFE1-49E8-A67E-8CC944920BFD}" dt="2023-08-07T14:14:11.039" v="2564" actId="14100"/>
          <ac:picMkLst>
            <pc:docMk/>
            <pc:sldMk cId="693469184" sldId="5266"/>
            <ac:picMk id="7" creationId="{F673B4FD-122E-A4FA-2E97-5B0FAE1E2EFE}"/>
          </ac:picMkLst>
        </pc:picChg>
        <pc:picChg chg="del">
          <ac:chgData name="Loic Guillot" userId="0fc2d07e-ea6a-4f5d-b4bd-9b71a401db7e" providerId="ADAL" clId="{3A56FE31-FFE1-49E8-A67E-8CC944920BFD}" dt="2023-08-07T14:13:53.864" v="2560" actId="478"/>
          <ac:picMkLst>
            <pc:docMk/>
            <pc:sldMk cId="693469184" sldId="5266"/>
            <ac:picMk id="26" creationId="{B014CBE6-2B2D-B1B9-F23F-9CFEA080BD74}"/>
          </ac:picMkLst>
        </pc:picChg>
      </pc:sldChg>
      <pc:sldChg chg="del">
        <pc:chgData name="Loic Guillot" userId="0fc2d07e-ea6a-4f5d-b4bd-9b71a401db7e" providerId="ADAL" clId="{3A56FE31-FFE1-49E8-A67E-8CC944920BFD}" dt="2023-08-07T09:09:11.183" v="2508" actId="47"/>
        <pc:sldMkLst>
          <pc:docMk/>
          <pc:sldMk cId="1698318097" sldId="5267"/>
        </pc:sldMkLst>
      </pc:sldChg>
      <pc:sldChg chg="addSp delSp modSp mod">
        <pc:chgData name="Loic Guillot" userId="0fc2d07e-ea6a-4f5d-b4bd-9b71a401db7e" providerId="ADAL" clId="{3A56FE31-FFE1-49E8-A67E-8CC944920BFD}" dt="2023-08-08T14:04:39.881" v="4524" actId="478"/>
        <pc:sldMkLst>
          <pc:docMk/>
          <pc:sldMk cId="2603073878" sldId="5268"/>
        </pc:sldMkLst>
        <pc:spChg chg="mod">
          <ac:chgData name="Loic Guillot" userId="0fc2d07e-ea6a-4f5d-b4bd-9b71a401db7e" providerId="ADAL" clId="{3A56FE31-FFE1-49E8-A67E-8CC944920BFD}" dt="2023-08-07T07:43:53.844" v="522" actId="14100"/>
          <ac:spMkLst>
            <pc:docMk/>
            <pc:sldMk cId="2603073878" sldId="5268"/>
            <ac:spMk id="2" creationId="{9A4B84F9-CAC2-D703-1247-581B4F7FA770}"/>
          </ac:spMkLst>
        </pc:spChg>
        <pc:spChg chg="del">
          <ac:chgData name="Loic Guillot" userId="0fc2d07e-ea6a-4f5d-b4bd-9b71a401db7e" providerId="ADAL" clId="{3A56FE31-FFE1-49E8-A67E-8CC944920BFD}" dt="2023-08-07T08:22:32.503" v="1367" actId="478"/>
          <ac:spMkLst>
            <pc:docMk/>
            <pc:sldMk cId="2603073878" sldId="5268"/>
            <ac:spMk id="11" creationId="{62CBB26F-5B34-D4E5-739B-68C655DEA6D7}"/>
          </ac:spMkLst>
        </pc:spChg>
        <pc:spChg chg="del">
          <ac:chgData name="Loic Guillot" userId="0fc2d07e-ea6a-4f5d-b4bd-9b71a401db7e" providerId="ADAL" clId="{3A56FE31-FFE1-49E8-A67E-8CC944920BFD}" dt="2023-08-07T08:21:53.616" v="1262" actId="478"/>
          <ac:spMkLst>
            <pc:docMk/>
            <pc:sldMk cId="2603073878" sldId="5268"/>
            <ac:spMk id="12" creationId="{7C8F4498-9A40-4DEC-707D-448D932499A2}"/>
          </ac:spMkLst>
        </pc:spChg>
        <pc:spChg chg="mod">
          <ac:chgData name="Loic Guillot" userId="0fc2d07e-ea6a-4f5d-b4bd-9b71a401db7e" providerId="ADAL" clId="{3A56FE31-FFE1-49E8-A67E-8CC944920BFD}" dt="2023-08-07T07:22:46.006" v="51" actId="14100"/>
          <ac:spMkLst>
            <pc:docMk/>
            <pc:sldMk cId="2603073878" sldId="5268"/>
            <ac:spMk id="13" creationId="{6203914D-16DF-2AAE-8C26-28C6218B4723}"/>
          </ac:spMkLst>
        </pc:spChg>
        <pc:spChg chg="mod">
          <ac:chgData name="Loic Guillot" userId="0fc2d07e-ea6a-4f5d-b4bd-9b71a401db7e" providerId="ADAL" clId="{3A56FE31-FFE1-49E8-A67E-8CC944920BFD}" dt="2023-08-07T08:33:08.970" v="1759" actId="20577"/>
          <ac:spMkLst>
            <pc:docMk/>
            <pc:sldMk cId="2603073878" sldId="5268"/>
            <ac:spMk id="14" creationId="{B1B726DA-683B-94E9-4DA1-0AD3411647EF}"/>
          </ac:spMkLst>
        </pc:spChg>
        <pc:spChg chg="mod">
          <ac:chgData name="Loic Guillot" userId="0fc2d07e-ea6a-4f5d-b4bd-9b71a401db7e" providerId="ADAL" clId="{3A56FE31-FFE1-49E8-A67E-8CC944920BFD}" dt="2023-08-07T07:44:08.929" v="524" actId="58"/>
          <ac:spMkLst>
            <pc:docMk/>
            <pc:sldMk cId="2603073878" sldId="5268"/>
            <ac:spMk id="15" creationId="{034E014C-F9FD-CB2F-D5E3-C0A5B02372DF}"/>
          </ac:spMkLst>
        </pc:spChg>
        <pc:spChg chg="mod">
          <ac:chgData name="Loic Guillot" userId="0fc2d07e-ea6a-4f5d-b4bd-9b71a401db7e" providerId="ADAL" clId="{3A56FE31-FFE1-49E8-A67E-8CC944920BFD}" dt="2023-08-07T07:46:19.386" v="565" actId="1076"/>
          <ac:spMkLst>
            <pc:docMk/>
            <pc:sldMk cId="2603073878" sldId="5268"/>
            <ac:spMk id="18" creationId="{10125F7C-E210-69F2-765D-AF92B4FE2E7E}"/>
          </ac:spMkLst>
        </pc:spChg>
        <pc:spChg chg="mod">
          <ac:chgData name="Loic Guillot" userId="0fc2d07e-ea6a-4f5d-b4bd-9b71a401db7e" providerId="ADAL" clId="{3A56FE31-FFE1-49E8-A67E-8CC944920BFD}" dt="2023-08-07T07:27:32.603" v="233" actId="1036"/>
          <ac:spMkLst>
            <pc:docMk/>
            <pc:sldMk cId="2603073878" sldId="5268"/>
            <ac:spMk id="21" creationId="{80C4EF11-0981-88AD-2A42-37B165073279}"/>
          </ac:spMkLst>
        </pc:spChg>
        <pc:spChg chg="mod">
          <ac:chgData name="Loic Guillot" userId="0fc2d07e-ea6a-4f5d-b4bd-9b71a401db7e" providerId="ADAL" clId="{3A56FE31-FFE1-49E8-A67E-8CC944920BFD}" dt="2023-08-07T07:27:32.603" v="233" actId="1036"/>
          <ac:spMkLst>
            <pc:docMk/>
            <pc:sldMk cId="2603073878" sldId="5268"/>
            <ac:spMk id="22" creationId="{7C49F747-5497-8609-1DFA-06F936A2B082}"/>
          </ac:spMkLst>
        </pc:spChg>
        <pc:spChg chg="mod">
          <ac:chgData name="Loic Guillot" userId="0fc2d07e-ea6a-4f5d-b4bd-9b71a401db7e" providerId="ADAL" clId="{3A56FE31-FFE1-49E8-A67E-8CC944920BFD}" dt="2023-08-07T07:46:19.022" v="564" actId="1076"/>
          <ac:spMkLst>
            <pc:docMk/>
            <pc:sldMk cId="2603073878" sldId="5268"/>
            <ac:spMk id="24" creationId="{C81FD908-6A4B-3355-7897-B0C8D5D06E48}"/>
          </ac:spMkLst>
        </pc:spChg>
        <pc:spChg chg="mod">
          <ac:chgData name="Loic Guillot" userId="0fc2d07e-ea6a-4f5d-b4bd-9b71a401db7e" providerId="ADAL" clId="{3A56FE31-FFE1-49E8-A67E-8CC944920BFD}" dt="2023-08-07T07:23:55.778" v="77" actId="20577"/>
          <ac:spMkLst>
            <pc:docMk/>
            <pc:sldMk cId="2603073878" sldId="5268"/>
            <ac:spMk id="26" creationId="{A5EDF71A-8D9A-F6A1-0C3F-EE2408EC99BE}"/>
          </ac:spMkLst>
        </pc:spChg>
        <pc:spChg chg="mod">
          <ac:chgData name="Loic Guillot" userId="0fc2d07e-ea6a-4f5d-b4bd-9b71a401db7e" providerId="ADAL" clId="{3A56FE31-FFE1-49E8-A67E-8CC944920BFD}" dt="2023-08-07T07:46:18.665" v="563" actId="1076"/>
          <ac:spMkLst>
            <pc:docMk/>
            <pc:sldMk cId="2603073878" sldId="5268"/>
            <ac:spMk id="28" creationId="{C9904CC6-1579-5546-B67D-5C05CD25EBFA}"/>
          </ac:spMkLst>
        </pc:spChg>
        <pc:spChg chg="add mod">
          <ac:chgData name="Loic Guillot" userId="0fc2d07e-ea6a-4f5d-b4bd-9b71a401db7e" providerId="ADAL" clId="{3A56FE31-FFE1-49E8-A67E-8CC944920BFD}" dt="2023-08-07T07:45:33.066" v="555" actId="20577"/>
          <ac:spMkLst>
            <pc:docMk/>
            <pc:sldMk cId="2603073878" sldId="5268"/>
            <ac:spMk id="44" creationId="{AF73F60E-A087-D6D9-6DE3-7B86C79972BD}"/>
          </ac:spMkLst>
        </pc:spChg>
        <pc:spChg chg="add mod">
          <ac:chgData name="Loic Guillot" userId="0fc2d07e-ea6a-4f5d-b4bd-9b71a401db7e" providerId="ADAL" clId="{3A56FE31-FFE1-49E8-A67E-8CC944920BFD}" dt="2023-08-07T08:21:59.115" v="1263" actId="33524"/>
          <ac:spMkLst>
            <pc:docMk/>
            <pc:sldMk cId="2603073878" sldId="5268"/>
            <ac:spMk id="52" creationId="{E1E63433-31C9-8B3C-882F-723334F82990}"/>
          </ac:spMkLst>
        </pc:spChg>
        <pc:spChg chg="add mod">
          <ac:chgData name="Loic Guillot" userId="0fc2d07e-ea6a-4f5d-b4bd-9b71a401db7e" providerId="ADAL" clId="{3A56FE31-FFE1-49E8-A67E-8CC944920BFD}" dt="2023-08-07T08:22:37.891" v="1403" actId="1037"/>
          <ac:spMkLst>
            <pc:docMk/>
            <pc:sldMk cId="2603073878" sldId="5268"/>
            <ac:spMk id="53" creationId="{ED755BEB-3C25-3B23-554B-0F0F009A5744}"/>
          </ac:spMkLst>
        </pc:spChg>
        <pc:cxnChg chg="mod">
          <ac:chgData name="Loic Guillot" userId="0fc2d07e-ea6a-4f5d-b4bd-9b71a401db7e" providerId="ADAL" clId="{3A56FE31-FFE1-49E8-A67E-8CC944920BFD}" dt="2023-08-07T07:46:20.531" v="566" actId="14100"/>
          <ac:cxnSpMkLst>
            <pc:docMk/>
            <pc:sldMk cId="2603073878" sldId="5268"/>
            <ac:cxnSpMk id="36" creationId="{1337E40C-982D-0049-DAAD-0C09993B8DCE}"/>
          </ac:cxnSpMkLst>
        </pc:cxnChg>
        <pc:cxnChg chg="del mod">
          <ac:chgData name="Loic Guillot" userId="0fc2d07e-ea6a-4f5d-b4bd-9b71a401db7e" providerId="ADAL" clId="{3A56FE31-FFE1-49E8-A67E-8CC944920BFD}" dt="2023-08-08T14:04:39.881" v="4524" actId="478"/>
          <ac:cxnSpMkLst>
            <pc:docMk/>
            <pc:sldMk cId="2603073878" sldId="5268"/>
            <ac:cxnSpMk id="39" creationId="{9F30673A-B014-061D-9CCD-E1C427BEE614}"/>
          </ac:cxnSpMkLst>
        </pc:cxnChg>
        <pc:cxnChg chg="add mod">
          <ac:chgData name="Loic Guillot" userId="0fc2d07e-ea6a-4f5d-b4bd-9b71a401db7e" providerId="ADAL" clId="{3A56FE31-FFE1-49E8-A67E-8CC944920BFD}" dt="2023-08-07T08:09:59.106" v="1004" actId="14100"/>
          <ac:cxnSpMkLst>
            <pc:docMk/>
            <pc:sldMk cId="2603073878" sldId="5268"/>
            <ac:cxnSpMk id="49" creationId="{8A25666A-C54E-F26B-06C2-396C2CADC6CF}"/>
          </ac:cxnSpMkLst>
        </pc:cxnChg>
      </pc:sldChg>
      <pc:sldChg chg="del">
        <pc:chgData name="Loic Guillot" userId="0fc2d07e-ea6a-4f5d-b4bd-9b71a401db7e" providerId="ADAL" clId="{3A56FE31-FFE1-49E8-A67E-8CC944920BFD}" dt="2023-08-07T07:55:42.607" v="729" actId="47"/>
        <pc:sldMkLst>
          <pc:docMk/>
          <pc:sldMk cId="2419134382" sldId="5269"/>
        </pc:sldMkLst>
      </pc:sldChg>
      <pc:sldChg chg="modSp del mod">
        <pc:chgData name="Loic Guillot" userId="0fc2d07e-ea6a-4f5d-b4bd-9b71a401db7e" providerId="ADAL" clId="{3A56FE31-FFE1-49E8-A67E-8CC944920BFD}" dt="2023-08-07T07:43:21.963" v="520" actId="47"/>
        <pc:sldMkLst>
          <pc:docMk/>
          <pc:sldMk cId="4171806573" sldId="5270"/>
        </pc:sldMkLst>
        <pc:spChg chg="mod">
          <ac:chgData name="Loic Guillot" userId="0fc2d07e-ea6a-4f5d-b4bd-9b71a401db7e" providerId="ADAL" clId="{3A56FE31-FFE1-49E8-A67E-8CC944920BFD}" dt="2023-08-07T07:22:23.484" v="43" actId="20577"/>
          <ac:spMkLst>
            <pc:docMk/>
            <pc:sldMk cId="4171806573" sldId="5270"/>
            <ac:spMk id="18" creationId="{10125F7C-E210-69F2-765D-AF92B4FE2E7E}"/>
          </ac:spMkLst>
        </pc:spChg>
      </pc:sldChg>
      <pc:sldChg chg="addSp delSp modSp add mod ord">
        <pc:chgData name="Loic Guillot" userId="0fc2d07e-ea6a-4f5d-b4bd-9b71a401db7e" providerId="ADAL" clId="{3A56FE31-FFE1-49E8-A67E-8CC944920BFD}" dt="2023-08-08T14:03:17.050" v="4494" actId="22"/>
        <pc:sldMkLst>
          <pc:docMk/>
          <pc:sldMk cId="1448595078" sldId="5271"/>
        </pc:sldMkLst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" creationId="{9A4B84F9-CAC2-D703-1247-581B4F7FA770}"/>
          </ac:spMkLst>
        </pc:spChg>
        <pc:spChg chg="add mod">
          <ac:chgData name="Loic Guillot" userId="0fc2d07e-ea6a-4f5d-b4bd-9b71a401db7e" providerId="ADAL" clId="{3A56FE31-FFE1-49E8-A67E-8CC944920BFD}" dt="2023-08-08T08:24:53.191" v="3819" actId="58"/>
          <ac:spMkLst>
            <pc:docMk/>
            <pc:sldMk cId="1448595078" sldId="5271"/>
            <ac:spMk id="4" creationId="{275371F6-A391-4FD7-4F84-C73218EEA71B}"/>
          </ac:spMkLst>
        </pc:spChg>
        <pc:spChg chg="add mod">
          <ac:chgData name="Loic Guillot" userId="0fc2d07e-ea6a-4f5d-b4bd-9b71a401db7e" providerId="ADAL" clId="{3A56FE31-FFE1-49E8-A67E-8CC944920BFD}" dt="2023-08-07T07:24:59.404" v="122" actId="33524"/>
          <ac:spMkLst>
            <pc:docMk/>
            <pc:sldMk cId="1448595078" sldId="5271"/>
            <ac:spMk id="5" creationId="{2131983C-CA60-E5BE-B80E-C8774489F9A1}"/>
          </ac:spMkLst>
        </pc:spChg>
        <pc:spChg chg="add mod">
          <ac:chgData name="Loic Guillot" userId="0fc2d07e-ea6a-4f5d-b4bd-9b71a401db7e" providerId="ADAL" clId="{3A56FE31-FFE1-49E8-A67E-8CC944920BFD}" dt="2023-08-07T08:34:06.577" v="1777" actId="1076"/>
          <ac:spMkLst>
            <pc:docMk/>
            <pc:sldMk cId="1448595078" sldId="5271"/>
            <ac:spMk id="8" creationId="{32B1E671-CAE4-F155-EEA6-82D9053BA16E}"/>
          </ac:spMkLst>
        </pc:spChg>
        <pc:spChg chg="add del">
          <ac:chgData name="Loic Guillot" userId="0fc2d07e-ea6a-4f5d-b4bd-9b71a401db7e" providerId="ADAL" clId="{3A56FE31-FFE1-49E8-A67E-8CC944920BFD}" dt="2023-08-08T14:03:17.050" v="4494" actId="22"/>
          <ac:spMkLst>
            <pc:docMk/>
            <pc:sldMk cId="1448595078" sldId="5271"/>
            <ac:spMk id="10" creationId="{7083FBBE-697D-41A2-BB68-D7B62DAB0A4D}"/>
          </ac:spMkLst>
        </pc:spChg>
        <pc:spChg chg="del">
          <ac:chgData name="Loic Guillot" userId="0fc2d07e-ea6a-4f5d-b4bd-9b71a401db7e" providerId="ADAL" clId="{3A56FE31-FFE1-49E8-A67E-8CC944920BFD}" dt="2023-08-07T07:24:27.210" v="87" actId="478"/>
          <ac:spMkLst>
            <pc:docMk/>
            <pc:sldMk cId="1448595078" sldId="5271"/>
            <ac:spMk id="11" creationId="{62CBB26F-5B34-D4E5-739B-68C655DEA6D7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12" creationId="{7C8F4498-9A40-4DEC-707D-448D932499A2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13" creationId="{6203914D-16DF-2AAE-8C26-28C6218B4723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14" creationId="{B1B726DA-683B-94E9-4DA1-0AD3411647EF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15" creationId="{034E014C-F9FD-CB2F-D5E3-C0A5B02372DF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18" creationId="{10125F7C-E210-69F2-765D-AF92B4FE2E7E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1" creationId="{80C4EF11-0981-88AD-2A42-37B165073279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2" creationId="{7C49F747-5497-8609-1DFA-06F936A2B082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4" creationId="{C81FD908-6A4B-3355-7897-B0C8D5D06E48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6" creationId="{A5EDF71A-8D9A-F6A1-0C3F-EE2408EC99BE}"/>
          </ac:spMkLst>
        </pc:spChg>
        <pc:spChg chg="del">
          <ac:chgData name="Loic Guillot" userId="0fc2d07e-ea6a-4f5d-b4bd-9b71a401db7e" providerId="ADAL" clId="{3A56FE31-FFE1-49E8-A67E-8CC944920BFD}" dt="2023-08-07T07:24:25.405" v="86" actId="478"/>
          <ac:spMkLst>
            <pc:docMk/>
            <pc:sldMk cId="1448595078" sldId="5271"/>
            <ac:spMk id="28" creationId="{C9904CC6-1579-5546-B67D-5C05CD25EBFA}"/>
          </ac:spMkLst>
        </pc:spChg>
        <pc:cxnChg chg="del mod">
          <ac:chgData name="Loic Guillot" userId="0fc2d07e-ea6a-4f5d-b4bd-9b71a401db7e" providerId="ADAL" clId="{3A56FE31-FFE1-49E8-A67E-8CC944920BFD}" dt="2023-08-07T07:24:25.405" v="86" actId="478"/>
          <ac:cxnSpMkLst>
            <pc:docMk/>
            <pc:sldMk cId="1448595078" sldId="5271"/>
            <ac:cxnSpMk id="36" creationId="{1337E40C-982D-0049-DAAD-0C09993B8DCE}"/>
          </ac:cxnSpMkLst>
        </pc:cxnChg>
        <pc:cxnChg chg="del mod">
          <ac:chgData name="Loic Guillot" userId="0fc2d07e-ea6a-4f5d-b4bd-9b71a401db7e" providerId="ADAL" clId="{3A56FE31-FFE1-49E8-A67E-8CC944920BFD}" dt="2023-08-07T07:24:25.405" v="86" actId="478"/>
          <ac:cxnSpMkLst>
            <pc:docMk/>
            <pc:sldMk cId="1448595078" sldId="5271"/>
            <ac:cxnSpMk id="39" creationId="{9F30673A-B014-061D-9CCD-E1C427BEE614}"/>
          </ac:cxnSpMkLst>
        </pc:cxnChg>
      </pc:sldChg>
      <pc:sldChg chg="addSp delSp modSp add mod">
        <pc:chgData name="Loic Guillot" userId="0fc2d07e-ea6a-4f5d-b4bd-9b71a401db7e" providerId="ADAL" clId="{3A56FE31-FFE1-49E8-A67E-8CC944920BFD}" dt="2023-08-07T08:33:49.179" v="1772" actId="20577"/>
        <pc:sldMkLst>
          <pc:docMk/>
          <pc:sldMk cId="1440915410" sldId="5272"/>
        </pc:sldMkLst>
        <pc:spChg chg="mod">
          <ac:chgData name="Loic Guillot" userId="0fc2d07e-ea6a-4f5d-b4bd-9b71a401db7e" providerId="ADAL" clId="{3A56FE31-FFE1-49E8-A67E-8CC944920BFD}" dt="2023-08-07T07:43:58.294" v="523" actId="14100"/>
          <ac:spMkLst>
            <pc:docMk/>
            <pc:sldMk cId="1440915410" sldId="5272"/>
            <ac:spMk id="2" creationId="{9A4B84F9-CAC2-D703-1247-581B4F7FA770}"/>
          </ac:spMkLst>
        </pc:spChg>
        <pc:spChg chg="del">
          <ac:chgData name="Loic Guillot" userId="0fc2d07e-ea6a-4f5d-b4bd-9b71a401db7e" providerId="ADAL" clId="{3A56FE31-FFE1-49E8-A67E-8CC944920BFD}" dt="2023-08-07T08:22:59.428" v="1409" actId="478"/>
          <ac:spMkLst>
            <pc:docMk/>
            <pc:sldMk cId="1440915410" sldId="5272"/>
            <ac:spMk id="11" creationId="{62CBB26F-5B34-D4E5-739B-68C655DEA6D7}"/>
          </ac:spMkLst>
        </pc:spChg>
        <pc:spChg chg="del">
          <ac:chgData name="Loic Guillot" userId="0fc2d07e-ea6a-4f5d-b4bd-9b71a401db7e" providerId="ADAL" clId="{3A56FE31-FFE1-49E8-A67E-8CC944920BFD}" dt="2023-08-07T08:22:43.557" v="1404" actId="478"/>
          <ac:spMkLst>
            <pc:docMk/>
            <pc:sldMk cId="1440915410" sldId="5272"/>
            <ac:spMk id="12" creationId="{7C8F4498-9A40-4DEC-707D-448D932499A2}"/>
          </ac:spMkLst>
        </pc:spChg>
        <pc:spChg chg="mod">
          <ac:chgData name="Loic Guillot" userId="0fc2d07e-ea6a-4f5d-b4bd-9b71a401db7e" providerId="ADAL" clId="{3A56FE31-FFE1-49E8-A67E-8CC944920BFD}" dt="2023-08-07T08:33:15.024" v="1760" actId="20577"/>
          <ac:spMkLst>
            <pc:docMk/>
            <pc:sldMk cId="1440915410" sldId="5272"/>
            <ac:spMk id="14" creationId="{B1B726DA-683B-94E9-4DA1-0AD3411647EF}"/>
          </ac:spMkLst>
        </pc:spChg>
        <pc:spChg chg="mod">
          <ac:chgData name="Loic Guillot" userId="0fc2d07e-ea6a-4f5d-b4bd-9b71a401db7e" providerId="ADAL" clId="{3A56FE31-FFE1-49E8-A67E-8CC944920BFD}" dt="2023-08-07T07:36:23.757" v="433" actId="58"/>
          <ac:spMkLst>
            <pc:docMk/>
            <pc:sldMk cId="1440915410" sldId="5272"/>
            <ac:spMk id="15" creationId="{034E014C-F9FD-CB2F-D5E3-C0A5B02372DF}"/>
          </ac:spMkLst>
        </pc:spChg>
        <pc:spChg chg="mod">
          <ac:chgData name="Loic Guillot" userId="0fc2d07e-ea6a-4f5d-b4bd-9b71a401db7e" providerId="ADAL" clId="{3A56FE31-FFE1-49E8-A67E-8CC944920BFD}" dt="2023-08-07T07:37:35.535" v="499" actId="1035"/>
          <ac:spMkLst>
            <pc:docMk/>
            <pc:sldMk cId="1440915410" sldId="5272"/>
            <ac:spMk id="18" creationId="{10125F7C-E210-69F2-765D-AF92B4FE2E7E}"/>
          </ac:spMkLst>
        </pc:spChg>
        <pc:spChg chg="mod">
          <ac:chgData name="Loic Guillot" userId="0fc2d07e-ea6a-4f5d-b4bd-9b71a401db7e" providerId="ADAL" clId="{3A56FE31-FFE1-49E8-A67E-8CC944920BFD}" dt="2023-08-07T08:33:35.846" v="1768" actId="20577"/>
          <ac:spMkLst>
            <pc:docMk/>
            <pc:sldMk cId="1440915410" sldId="5272"/>
            <ac:spMk id="21" creationId="{80C4EF11-0981-88AD-2A42-37B165073279}"/>
          </ac:spMkLst>
        </pc:spChg>
        <pc:spChg chg="mod">
          <ac:chgData name="Loic Guillot" userId="0fc2d07e-ea6a-4f5d-b4bd-9b71a401db7e" providerId="ADAL" clId="{3A56FE31-FFE1-49E8-A67E-8CC944920BFD}" dt="2023-08-07T08:33:39.293" v="1770" actId="20577"/>
          <ac:spMkLst>
            <pc:docMk/>
            <pc:sldMk cId="1440915410" sldId="5272"/>
            <ac:spMk id="22" creationId="{7C49F747-5497-8609-1DFA-06F936A2B082}"/>
          </ac:spMkLst>
        </pc:spChg>
        <pc:spChg chg="mod">
          <ac:chgData name="Loic Guillot" userId="0fc2d07e-ea6a-4f5d-b4bd-9b71a401db7e" providerId="ADAL" clId="{3A56FE31-FFE1-49E8-A67E-8CC944920BFD}" dt="2023-08-07T07:37:32.882" v="481" actId="1035"/>
          <ac:spMkLst>
            <pc:docMk/>
            <pc:sldMk cId="1440915410" sldId="5272"/>
            <ac:spMk id="24" creationId="{C81FD908-6A4B-3355-7897-B0C8D5D06E48}"/>
          </ac:spMkLst>
        </pc:spChg>
        <pc:spChg chg="mod">
          <ac:chgData name="Loic Guillot" userId="0fc2d07e-ea6a-4f5d-b4bd-9b71a401db7e" providerId="ADAL" clId="{3A56FE31-FFE1-49E8-A67E-8CC944920BFD}" dt="2023-08-07T08:33:27.634" v="1764" actId="20577"/>
          <ac:spMkLst>
            <pc:docMk/>
            <pc:sldMk cId="1440915410" sldId="5272"/>
            <ac:spMk id="26" creationId="{A5EDF71A-8D9A-F6A1-0C3F-EE2408EC99BE}"/>
          </ac:spMkLst>
        </pc:spChg>
        <pc:spChg chg="mod">
          <ac:chgData name="Loic Guillot" userId="0fc2d07e-ea6a-4f5d-b4bd-9b71a401db7e" providerId="ADAL" clId="{3A56FE31-FFE1-49E8-A67E-8CC944920BFD}" dt="2023-08-07T08:33:49.179" v="1772" actId="20577"/>
          <ac:spMkLst>
            <pc:docMk/>
            <pc:sldMk cId="1440915410" sldId="5272"/>
            <ac:spMk id="28" creationId="{C9904CC6-1579-5546-B67D-5C05CD25EBFA}"/>
          </ac:spMkLst>
        </pc:spChg>
        <pc:spChg chg="add mod">
          <ac:chgData name="Loic Guillot" userId="0fc2d07e-ea6a-4f5d-b4bd-9b71a401db7e" providerId="ADAL" clId="{3A56FE31-FFE1-49E8-A67E-8CC944920BFD}" dt="2023-08-07T07:46:42.015" v="569"/>
          <ac:spMkLst>
            <pc:docMk/>
            <pc:sldMk cId="1440915410" sldId="5272"/>
            <ac:spMk id="42" creationId="{15F8240F-3DBA-9635-4F77-0D715E60646E}"/>
          </ac:spMkLst>
        </pc:spChg>
        <pc:spChg chg="add mod">
          <ac:chgData name="Loic Guillot" userId="0fc2d07e-ea6a-4f5d-b4bd-9b71a401db7e" providerId="ADAL" clId="{3A56FE31-FFE1-49E8-A67E-8CC944920BFD}" dt="2023-08-07T08:22:44.167" v="1405"/>
          <ac:spMkLst>
            <pc:docMk/>
            <pc:sldMk cId="1440915410" sldId="5272"/>
            <ac:spMk id="43" creationId="{897DEFCE-D0BA-FF3F-BF0C-93BE280C3B86}"/>
          </ac:spMkLst>
        </pc:spChg>
        <pc:spChg chg="add mod">
          <ac:chgData name="Loic Guillot" userId="0fc2d07e-ea6a-4f5d-b4bd-9b71a401db7e" providerId="ADAL" clId="{3A56FE31-FFE1-49E8-A67E-8CC944920BFD}" dt="2023-08-07T08:22:57.347" v="1408"/>
          <ac:spMkLst>
            <pc:docMk/>
            <pc:sldMk cId="1440915410" sldId="5272"/>
            <ac:spMk id="44" creationId="{64EF10B8-C1C1-764D-1883-25D246A5F455}"/>
          </ac:spMkLst>
        </pc:spChg>
        <pc:cxnChg chg="add mod">
          <ac:chgData name="Loic Guillot" userId="0fc2d07e-ea6a-4f5d-b4bd-9b71a401db7e" providerId="ADAL" clId="{3A56FE31-FFE1-49E8-A67E-8CC944920BFD}" dt="2023-08-07T07:42:46.481" v="518" actId="14100"/>
          <ac:cxnSpMkLst>
            <pc:docMk/>
            <pc:sldMk cId="1440915410" sldId="5272"/>
            <ac:cxnSpMk id="10" creationId="{30267064-1467-2381-81FE-52C047E49914}"/>
          </ac:cxnSpMkLst>
        </pc:cxnChg>
        <pc:cxnChg chg="add mod">
          <ac:chgData name="Loic Guillot" userId="0fc2d07e-ea6a-4f5d-b4bd-9b71a401db7e" providerId="ADAL" clId="{3A56FE31-FFE1-49E8-A67E-8CC944920BFD}" dt="2023-08-07T07:37:39.105" v="515" actId="1036"/>
          <ac:cxnSpMkLst>
            <pc:docMk/>
            <pc:sldMk cId="1440915410" sldId="5272"/>
            <ac:cxnSpMk id="19" creationId="{42648BDB-21EF-20DE-FB21-65DE663BD0C1}"/>
          </ac:cxnSpMkLst>
        </pc:cxnChg>
        <pc:cxnChg chg="mod">
          <ac:chgData name="Loic Guillot" userId="0fc2d07e-ea6a-4f5d-b4bd-9b71a401db7e" providerId="ADAL" clId="{3A56FE31-FFE1-49E8-A67E-8CC944920BFD}" dt="2023-08-07T07:37:35.535" v="499" actId="1035"/>
          <ac:cxnSpMkLst>
            <pc:docMk/>
            <pc:sldMk cId="1440915410" sldId="5272"/>
            <ac:cxnSpMk id="36" creationId="{1337E40C-982D-0049-DAAD-0C09993B8DCE}"/>
          </ac:cxnSpMkLst>
        </pc:cxnChg>
        <pc:cxnChg chg="mod">
          <ac:chgData name="Loic Guillot" userId="0fc2d07e-ea6a-4f5d-b4bd-9b71a401db7e" providerId="ADAL" clId="{3A56FE31-FFE1-49E8-A67E-8CC944920BFD}" dt="2023-08-07T07:37:32.882" v="481" actId="1035"/>
          <ac:cxnSpMkLst>
            <pc:docMk/>
            <pc:sldMk cId="1440915410" sldId="5272"/>
            <ac:cxnSpMk id="39" creationId="{9F30673A-B014-061D-9CCD-E1C427BEE614}"/>
          </ac:cxnSpMkLst>
        </pc:cxnChg>
      </pc:sldChg>
      <pc:sldChg chg="addSp delSp modSp add mod">
        <pc:chgData name="Loic Guillot" userId="0fc2d07e-ea6a-4f5d-b4bd-9b71a401db7e" providerId="ADAL" clId="{3A56FE31-FFE1-49E8-A67E-8CC944920BFD}" dt="2023-08-07T08:33:57.250" v="1774" actId="20577"/>
        <pc:sldMkLst>
          <pc:docMk/>
          <pc:sldMk cId="2847172794" sldId="5273"/>
        </pc:sldMkLst>
        <pc:spChg chg="mod">
          <ac:chgData name="Loic Guillot" userId="0fc2d07e-ea6a-4f5d-b4bd-9b71a401db7e" providerId="ADAL" clId="{3A56FE31-FFE1-49E8-A67E-8CC944920BFD}" dt="2023-08-07T07:50:43.198" v="606" actId="58"/>
          <ac:spMkLst>
            <pc:docMk/>
            <pc:sldMk cId="2847172794" sldId="5273"/>
            <ac:spMk id="2" creationId="{9A4B84F9-CAC2-D703-1247-581B4F7FA770}"/>
          </ac:spMkLst>
        </pc:spChg>
        <pc:spChg chg="add mod">
          <ac:chgData name="Loic Guillot" userId="0fc2d07e-ea6a-4f5d-b4bd-9b71a401db7e" providerId="ADAL" clId="{3A56FE31-FFE1-49E8-A67E-8CC944920BFD}" dt="2023-08-07T07:46:43.559" v="570"/>
          <ac:spMkLst>
            <pc:docMk/>
            <pc:sldMk cId="2847172794" sldId="5273"/>
            <ac:spMk id="4" creationId="{4D888047-405B-F753-EDD5-FF679D982C18}"/>
          </ac:spMkLst>
        </pc:spChg>
        <pc:spChg chg="del">
          <ac:chgData name="Loic Guillot" userId="0fc2d07e-ea6a-4f5d-b4bd-9b71a401db7e" providerId="ADAL" clId="{3A56FE31-FFE1-49E8-A67E-8CC944920BFD}" dt="2023-08-07T08:23:07.144" v="1411" actId="478"/>
          <ac:spMkLst>
            <pc:docMk/>
            <pc:sldMk cId="2847172794" sldId="5273"/>
            <ac:spMk id="11" creationId="{62CBB26F-5B34-D4E5-739B-68C655DEA6D7}"/>
          </ac:spMkLst>
        </pc:spChg>
        <pc:spChg chg="del">
          <ac:chgData name="Loic Guillot" userId="0fc2d07e-ea6a-4f5d-b4bd-9b71a401db7e" providerId="ADAL" clId="{3A56FE31-FFE1-49E8-A67E-8CC944920BFD}" dt="2023-08-07T08:22:47.987" v="1406" actId="478"/>
          <ac:spMkLst>
            <pc:docMk/>
            <pc:sldMk cId="2847172794" sldId="5273"/>
            <ac:spMk id="12" creationId="{7C8F4498-9A40-4DEC-707D-448D932499A2}"/>
          </ac:spMkLst>
        </pc:spChg>
        <pc:spChg chg="mod">
          <ac:chgData name="Loic Guillot" userId="0fc2d07e-ea6a-4f5d-b4bd-9b71a401db7e" providerId="ADAL" clId="{3A56FE31-FFE1-49E8-A67E-8CC944920BFD}" dt="2023-08-07T08:33:57.250" v="1774" actId="20577"/>
          <ac:spMkLst>
            <pc:docMk/>
            <pc:sldMk cId="2847172794" sldId="5273"/>
            <ac:spMk id="14" creationId="{B1B726DA-683B-94E9-4DA1-0AD3411647EF}"/>
          </ac:spMkLst>
        </pc:spChg>
        <pc:spChg chg="mod">
          <ac:chgData name="Loic Guillot" userId="0fc2d07e-ea6a-4f5d-b4bd-9b71a401db7e" providerId="ADAL" clId="{3A56FE31-FFE1-49E8-A67E-8CC944920BFD}" dt="2023-08-07T07:44:12.383" v="525" actId="58"/>
          <ac:spMkLst>
            <pc:docMk/>
            <pc:sldMk cId="2847172794" sldId="5273"/>
            <ac:spMk id="15" creationId="{034E014C-F9FD-CB2F-D5E3-C0A5B02372DF}"/>
          </ac:spMkLst>
        </pc:spChg>
        <pc:spChg chg="mod">
          <ac:chgData name="Loic Guillot" userId="0fc2d07e-ea6a-4f5d-b4bd-9b71a401db7e" providerId="ADAL" clId="{3A56FE31-FFE1-49E8-A67E-8CC944920BFD}" dt="2023-08-07T08:13:16.142" v="1012" actId="20577"/>
          <ac:spMkLst>
            <pc:docMk/>
            <pc:sldMk cId="2847172794" sldId="5273"/>
            <ac:spMk id="18" creationId="{10125F7C-E210-69F2-765D-AF92B4FE2E7E}"/>
          </ac:spMkLst>
        </pc:spChg>
        <pc:spChg chg="add mod">
          <ac:chgData name="Loic Guillot" userId="0fc2d07e-ea6a-4f5d-b4bd-9b71a401db7e" providerId="ADAL" clId="{3A56FE31-FFE1-49E8-A67E-8CC944920BFD}" dt="2023-08-07T08:14:08.417" v="1030" actId="1035"/>
          <ac:spMkLst>
            <pc:docMk/>
            <pc:sldMk cId="2847172794" sldId="5273"/>
            <ac:spMk id="20" creationId="{E485EBF0-8F5D-238F-A9E6-1CCBEB5F4784}"/>
          </ac:spMkLst>
        </pc:spChg>
        <pc:spChg chg="del mod">
          <ac:chgData name="Loic Guillot" userId="0fc2d07e-ea6a-4f5d-b4bd-9b71a401db7e" providerId="ADAL" clId="{3A56FE31-FFE1-49E8-A67E-8CC944920BFD}" dt="2023-08-07T07:54:04.759" v="659" actId="478"/>
          <ac:spMkLst>
            <pc:docMk/>
            <pc:sldMk cId="2847172794" sldId="5273"/>
            <ac:spMk id="21" creationId="{80C4EF11-0981-88AD-2A42-37B165073279}"/>
          </ac:spMkLst>
        </pc:spChg>
        <pc:spChg chg="mod">
          <ac:chgData name="Loic Guillot" userId="0fc2d07e-ea6a-4f5d-b4bd-9b71a401db7e" providerId="ADAL" clId="{3A56FE31-FFE1-49E8-A67E-8CC944920BFD}" dt="2023-08-07T07:48:03.998" v="591" actId="58"/>
          <ac:spMkLst>
            <pc:docMk/>
            <pc:sldMk cId="2847172794" sldId="5273"/>
            <ac:spMk id="22" creationId="{7C49F747-5497-8609-1DFA-06F936A2B082}"/>
          </ac:spMkLst>
        </pc:spChg>
        <pc:spChg chg="mod">
          <ac:chgData name="Loic Guillot" userId="0fc2d07e-ea6a-4f5d-b4bd-9b71a401db7e" providerId="ADAL" clId="{3A56FE31-FFE1-49E8-A67E-8CC944920BFD}" dt="2023-08-07T07:50:51.282" v="610" actId="58"/>
          <ac:spMkLst>
            <pc:docMk/>
            <pc:sldMk cId="2847172794" sldId="5273"/>
            <ac:spMk id="24" creationId="{C81FD908-6A4B-3355-7897-B0C8D5D06E48}"/>
          </ac:spMkLst>
        </pc:spChg>
        <pc:spChg chg="add mod">
          <ac:chgData name="Loic Guillot" userId="0fc2d07e-ea6a-4f5d-b4bd-9b71a401db7e" providerId="ADAL" clId="{3A56FE31-FFE1-49E8-A67E-8CC944920BFD}" dt="2023-08-07T08:14:40.271" v="1062" actId="58"/>
          <ac:spMkLst>
            <pc:docMk/>
            <pc:sldMk cId="2847172794" sldId="5273"/>
            <ac:spMk id="25" creationId="{1F3A514E-BB31-87A3-71CE-E5865FC1F788}"/>
          </ac:spMkLst>
        </pc:spChg>
        <pc:spChg chg="mod">
          <ac:chgData name="Loic Guillot" userId="0fc2d07e-ea6a-4f5d-b4bd-9b71a401db7e" providerId="ADAL" clId="{3A56FE31-FFE1-49E8-A67E-8CC944920BFD}" dt="2023-08-07T07:54:00.324" v="658" actId="1076"/>
          <ac:spMkLst>
            <pc:docMk/>
            <pc:sldMk cId="2847172794" sldId="5273"/>
            <ac:spMk id="26" creationId="{A5EDF71A-8D9A-F6A1-0C3F-EE2408EC99BE}"/>
          </ac:spMkLst>
        </pc:spChg>
        <pc:spChg chg="del">
          <ac:chgData name="Loic Guillot" userId="0fc2d07e-ea6a-4f5d-b4bd-9b71a401db7e" providerId="ADAL" clId="{3A56FE31-FFE1-49E8-A67E-8CC944920BFD}" dt="2023-08-07T07:53:58.271" v="657" actId="478"/>
          <ac:spMkLst>
            <pc:docMk/>
            <pc:sldMk cId="2847172794" sldId="5273"/>
            <ac:spMk id="28" creationId="{C9904CC6-1579-5546-B67D-5C05CD25EBFA}"/>
          </ac:spMkLst>
        </pc:spChg>
        <pc:spChg chg="add mod">
          <ac:chgData name="Loic Guillot" userId="0fc2d07e-ea6a-4f5d-b4bd-9b71a401db7e" providerId="ADAL" clId="{3A56FE31-FFE1-49E8-A67E-8CC944920BFD}" dt="2023-08-07T08:22:48.634" v="1407"/>
          <ac:spMkLst>
            <pc:docMk/>
            <pc:sldMk cId="2847172794" sldId="5273"/>
            <ac:spMk id="29" creationId="{686B5A8F-1CE6-EE36-3AA8-C2609D223BB5}"/>
          </ac:spMkLst>
        </pc:spChg>
        <pc:spChg chg="add mod">
          <ac:chgData name="Loic Guillot" userId="0fc2d07e-ea6a-4f5d-b4bd-9b71a401db7e" providerId="ADAL" clId="{3A56FE31-FFE1-49E8-A67E-8CC944920BFD}" dt="2023-08-07T08:23:14.793" v="1412" actId="1076"/>
          <ac:spMkLst>
            <pc:docMk/>
            <pc:sldMk cId="2847172794" sldId="5273"/>
            <ac:spMk id="30" creationId="{D7A0D509-C5A1-E8F7-568C-363310208760}"/>
          </ac:spMkLst>
        </pc:spChg>
        <pc:picChg chg="add mod">
          <ac:chgData name="Loic Guillot" userId="0fc2d07e-ea6a-4f5d-b4bd-9b71a401db7e" providerId="ADAL" clId="{3A56FE31-FFE1-49E8-A67E-8CC944920BFD}" dt="2023-08-07T08:14:08.417" v="1030" actId="1035"/>
          <ac:picMkLst>
            <pc:docMk/>
            <pc:sldMk cId="2847172794" sldId="5273"/>
            <ac:picMk id="10" creationId="{EE3D682D-F4CB-713E-DEE2-B2AEC9C3F0A5}"/>
          </ac:picMkLst>
        </pc:picChg>
        <pc:cxnChg chg="add mod">
          <ac:chgData name="Loic Guillot" userId="0fc2d07e-ea6a-4f5d-b4bd-9b71a401db7e" providerId="ADAL" clId="{3A56FE31-FFE1-49E8-A67E-8CC944920BFD}" dt="2023-08-07T08:14:42.942" v="1063" actId="14100"/>
          <ac:cxnSpMkLst>
            <pc:docMk/>
            <pc:sldMk cId="2847172794" sldId="5273"/>
            <ac:cxnSpMk id="16" creationId="{0403CEFC-FC27-727A-DAC6-0BDBB5DE7A58}"/>
          </ac:cxnSpMkLst>
        </pc:cxnChg>
        <pc:cxnChg chg="mod">
          <ac:chgData name="Loic Guillot" userId="0fc2d07e-ea6a-4f5d-b4bd-9b71a401db7e" providerId="ADAL" clId="{3A56FE31-FFE1-49E8-A67E-8CC944920BFD}" dt="2023-08-07T07:46:57.555" v="572" actId="1076"/>
          <ac:cxnSpMkLst>
            <pc:docMk/>
            <pc:sldMk cId="2847172794" sldId="5273"/>
            <ac:cxnSpMk id="36" creationId="{1337E40C-982D-0049-DAAD-0C09993B8DCE}"/>
          </ac:cxnSpMkLst>
        </pc:cxnChg>
        <pc:cxnChg chg="mod">
          <ac:chgData name="Loic Guillot" userId="0fc2d07e-ea6a-4f5d-b4bd-9b71a401db7e" providerId="ADAL" clId="{3A56FE31-FFE1-49E8-A67E-8CC944920BFD}" dt="2023-08-07T07:48:10.473" v="592" actId="14100"/>
          <ac:cxnSpMkLst>
            <pc:docMk/>
            <pc:sldMk cId="2847172794" sldId="5273"/>
            <ac:cxnSpMk id="39" creationId="{9F30673A-B014-061D-9CCD-E1C427BEE614}"/>
          </ac:cxnSpMkLst>
        </pc:cxnChg>
      </pc:sldChg>
      <pc:sldChg chg="addSp delSp modSp add mod">
        <pc:chgData name="Loic Guillot" userId="0fc2d07e-ea6a-4f5d-b4bd-9b71a401db7e" providerId="ADAL" clId="{3A56FE31-FFE1-49E8-A67E-8CC944920BFD}" dt="2023-08-08T08:34:52.172" v="3997" actId="58"/>
        <pc:sldMkLst>
          <pc:docMk/>
          <pc:sldMk cId="3100740622" sldId="5274"/>
        </pc:sldMkLst>
        <pc:spChg chg="del">
          <ac:chgData name="Loic Guillot" userId="0fc2d07e-ea6a-4f5d-b4bd-9b71a401db7e" providerId="ADAL" clId="{3A56FE31-FFE1-49E8-A67E-8CC944920BFD}" dt="2023-08-07T07:56:37.393" v="747" actId="478"/>
          <ac:spMkLst>
            <pc:docMk/>
            <pc:sldMk cId="3100740622" sldId="5274"/>
            <ac:spMk id="2" creationId="{9A4B84F9-CAC2-D703-1247-581B4F7FA770}"/>
          </ac:spMkLst>
        </pc:spChg>
        <pc:spChg chg="del">
          <ac:chgData name="Loic Guillot" userId="0fc2d07e-ea6a-4f5d-b4bd-9b71a401db7e" providerId="ADAL" clId="{3A56FE31-FFE1-49E8-A67E-8CC944920BFD}" dt="2023-08-07T07:56:36.425" v="746" actId="478"/>
          <ac:spMkLst>
            <pc:docMk/>
            <pc:sldMk cId="3100740622" sldId="5274"/>
            <ac:spMk id="4" creationId="{4D888047-405B-F753-EDD5-FF679D982C18}"/>
          </ac:spMkLst>
        </pc:spChg>
        <pc:spChg chg="add mod">
          <ac:chgData name="Loic Guillot" userId="0fc2d07e-ea6a-4f5d-b4bd-9b71a401db7e" providerId="ADAL" clId="{3A56FE31-FFE1-49E8-A67E-8CC944920BFD}" dt="2023-08-07T07:57:05.235" v="757" actId="1076"/>
          <ac:spMkLst>
            <pc:docMk/>
            <pc:sldMk cId="3100740622" sldId="5274"/>
            <ac:spMk id="5" creationId="{CF80D388-0A09-7C7C-791B-7E5A07313E70}"/>
          </ac:spMkLst>
        </pc:spChg>
        <pc:spChg chg="add mod">
          <ac:chgData name="Loic Guillot" userId="0fc2d07e-ea6a-4f5d-b4bd-9b71a401db7e" providerId="ADAL" clId="{3A56FE31-FFE1-49E8-A67E-8CC944920BFD}" dt="2023-08-07T07:57:14.171" v="759" actId="1076"/>
          <ac:spMkLst>
            <pc:docMk/>
            <pc:sldMk cId="3100740622" sldId="5274"/>
            <ac:spMk id="7" creationId="{FB68011C-5945-7EF1-6928-03F949DE7D82}"/>
          </ac:spMkLst>
        </pc:spChg>
        <pc:spChg chg="add mod">
          <ac:chgData name="Loic Guillot" userId="0fc2d07e-ea6a-4f5d-b4bd-9b71a401db7e" providerId="ADAL" clId="{3A56FE31-FFE1-49E8-A67E-8CC944920BFD}" dt="2023-08-07T07:58:52.380" v="777" actId="1076"/>
          <ac:spMkLst>
            <pc:docMk/>
            <pc:sldMk cId="3100740622" sldId="5274"/>
            <ac:spMk id="8" creationId="{20392730-C0BC-79E7-A900-B035CCBD15D9}"/>
          </ac:spMkLst>
        </pc:spChg>
        <pc:spChg chg="add mod">
          <ac:chgData name="Loic Guillot" userId="0fc2d07e-ea6a-4f5d-b4bd-9b71a401db7e" providerId="ADAL" clId="{3A56FE31-FFE1-49E8-A67E-8CC944920BFD}" dt="2023-08-07T08:05:41.756" v="876" actId="14100"/>
          <ac:spMkLst>
            <pc:docMk/>
            <pc:sldMk cId="3100740622" sldId="5274"/>
            <ac:spMk id="9" creationId="{222ED8C6-C941-F855-AD34-AE19099FFDA2}"/>
          </ac:spMkLst>
        </pc:spChg>
        <pc:spChg chg="del mod">
          <ac:chgData name="Loic Guillot" userId="0fc2d07e-ea6a-4f5d-b4bd-9b71a401db7e" providerId="ADAL" clId="{3A56FE31-FFE1-49E8-A67E-8CC944920BFD}" dt="2023-08-07T07:56:09.569" v="735" actId="478"/>
          <ac:spMkLst>
            <pc:docMk/>
            <pc:sldMk cId="3100740622" sldId="5274"/>
            <ac:spMk id="11" creationId="{62CBB26F-5B34-D4E5-739B-68C655DEA6D7}"/>
          </ac:spMkLst>
        </pc:spChg>
        <pc:spChg chg="del">
          <ac:chgData name="Loic Guillot" userId="0fc2d07e-ea6a-4f5d-b4bd-9b71a401db7e" providerId="ADAL" clId="{3A56FE31-FFE1-49E8-A67E-8CC944920BFD}" dt="2023-08-07T07:56:11.668" v="736" actId="478"/>
          <ac:spMkLst>
            <pc:docMk/>
            <pc:sldMk cId="3100740622" sldId="5274"/>
            <ac:spMk id="12" creationId="{7C8F4498-9A40-4DEC-707D-448D932499A2}"/>
          </ac:spMkLst>
        </pc:spChg>
        <pc:spChg chg="mod">
          <ac:chgData name="Loic Guillot" userId="0fc2d07e-ea6a-4f5d-b4bd-9b71a401db7e" providerId="ADAL" clId="{3A56FE31-FFE1-49E8-A67E-8CC944920BFD}" dt="2023-08-07T07:58:49.812" v="776" actId="1076"/>
          <ac:spMkLst>
            <pc:docMk/>
            <pc:sldMk cId="3100740622" sldId="5274"/>
            <ac:spMk id="13" creationId="{6203914D-16DF-2AAE-8C26-28C6218B4723}"/>
          </ac:spMkLst>
        </pc:spChg>
        <pc:spChg chg="mod">
          <ac:chgData name="Loic Guillot" userId="0fc2d07e-ea6a-4f5d-b4bd-9b71a401db7e" providerId="ADAL" clId="{3A56FE31-FFE1-49E8-A67E-8CC944920BFD}" dt="2023-08-07T07:59:12.882" v="780" actId="14100"/>
          <ac:spMkLst>
            <pc:docMk/>
            <pc:sldMk cId="3100740622" sldId="5274"/>
            <ac:spMk id="14" creationId="{B1B726DA-683B-94E9-4DA1-0AD3411647EF}"/>
          </ac:spMkLst>
        </pc:spChg>
        <pc:spChg chg="del">
          <ac:chgData name="Loic Guillot" userId="0fc2d07e-ea6a-4f5d-b4bd-9b71a401db7e" providerId="ADAL" clId="{3A56FE31-FFE1-49E8-A67E-8CC944920BFD}" dt="2023-08-07T07:56:38.164" v="748" actId="478"/>
          <ac:spMkLst>
            <pc:docMk/>
            <pc:sldMk cId="3100740622" sldId="5274"/>
            <ac:spMk id="15" creationId="{034E014C-F9FD-CB2F-D5E3-C0A5B02372DF}"/>
          </ac:spMkLst>
        </pc:spChg>
        <pc:spChg chg="add mod">
          <ac:chgData name="Loic Guillot" userId="0fc2d07e-ea6a-4f5d-b4bd-9b71a401db7e" providerId="ADAL" clId="{3A56FE31-FFE1-49E8-A67E-8CC944920BFD}" dt="2023-08-07T08:05:45.155" v="877" actId="1076"/>
          <ac:spMkLst>
            <pc:docMk/>
            <pc:sldMk cId="3100740622" sldId="5274"/>
            <ac:spMk id="17" creationId="{240CB8A1-EA88-7C5F-081E-40FFBF227587}"/>
          </ac:spMkLst>
        </pc:spChg>
        <pc:spChg chg="mod">
          <ac:chgData name="Loic Guillot" userId="0fc2d07e-ea6a-4f5d-b4bd-9b71a401db7e" providerId="ADAL" clId="{3A56FE31-FFE1-49E8-A67E-8CC944920BFD}" dt="2023-08-07T07:56:52.765" v="755" actId="1076"/>
          <ac:spMkLst>
            <pc:docMk/>
            <pc:sldMk cId="3100740622" sldId="5274"/>
            <ac:spMk id="18" creationId="{10125F7C-E210-69F2-765D-AF92B4FE2E7E}"/>
          </ac:spMkLst>
        </pc:spChg>
        <pc:spChg chg="add mod">
          <ac:chgData name="Loic Guillot" userId="0fc2d07e-ea6a-4f5d-b4bd-9b71a401db7e" providerId="ADAL" clId="{3A56FE31-FFE1-49E8-A67E-8CC944920BFD}" dt="2023-08-07T08:00:48.772" v="841" actId="20577"/>
          <ac:spMkLst>
            <pc:docMk/>
            <pc:sldMk cId="3100740622" sldId="5274"/>
            <ac:spMk id="19" creationId="{43D4A03C-4511-295B-84F0-B05A5E06DD89}"/>
          </ac:spMkLst>
        </pc:spChg>
        <pc:spChg chg="del">
          <ac:chgData name="Loic Guillot" userId="0fc2d07e-ea6a-4f5d-b4bd-9b71a401db7e" providerId="ADAL" clId="{3A56FE31-FFE1-49E8-A67E-8CC944920BFD}" dt="2023-08-07T07:56:01.791" v="731" actId="478"/>
          <ac:spMkLst>
            <pc:docMk/>
            <pc:sldMk cId="3100740622" sldId="5274"/>
            <ac:spMk id="20" creationId="{E485EBF0-8F5D-238F-A9E6-1CCBEB5F4784}"/>
          </ac:spMkLst>
        </pc:spChg>
        <pc:spChg chg="add mod">
          <ac:chgData name="Loic Guillot" userId="0fc2d07e-ea6a-4f5d-b4bd-9b71a401db7e" providerId="ADAL" clId="{3A56FE31-FFE1-49E8-A67E-8CC944920BFD}" dt="2023-08-08T08:34:52.172" v="3997" actId="58"/>
          <ac:spMkLst>
            <pc:docMk/>
            <pc:sldMk cId="3100740622" sldId="5274"/>
            <ac:spMk id="21" creationId="{81FFF671-4653-A83B-B828-BC3501613F7C}"/>
          </ac:spMkLst>
        </pc:spChg>
        <pc:spChg chg="del">
          <ac:chgData name="Loic Guillot" userId="0fc2d07e-ea6a-4f5d-b4bd-9b71a401db7e" providerId="ADAL" clId="{3A56FE31-FFE1-49E8-A67E-8CC944920BFD}" dt="2023-08-07T07:56:45.972" v="753" actId="478"/>
          <ac:spMkLst>
            <pc:docMk/>
            <pc:sldMk cId="3100740622" sldId="5274"/>
            <ac:spMk id="22" creationId="{7C49F747-5497-8609-1DFA-06F936A2B082}"/>
          </ac:spMkLst>
        </pc:spChg>
        <pc:spChg chg="add del mod">
          <ac:chgData name="Loic Guillot" userId="0fc2d07e-ea6a-4f5d-b4bd-9b71a401db7e" providerId="ADAL" clId="{3A56FE31-FFE1-49E8-A67E-8CC944920BFD}" dt="2023-08-07T08:04:13.786" v="848" actId="478"/>
          <ac:spMkLst>
            <pc:docMk/>
            <pc:sldMk cId="3100740622" sldId="5274"/>
            <ac:spMk id="23" creationId="{A03A3BFE-614E-0813-9671-0A4479F352DD}"/>
          </ac:spMkLst>
        </pc:spChg>
        <pc:spChg chg="mod">
          <ac:chgData name="Loic Guillot" userId="0fc2d07e-ea6a-4f5d-b4bd-9b71a401db7e" providerId="ADAL" clId="{3A56FE31-FFE1-49E8-A67E-8CC944920BFD}" dt="2023-08-07T07:58:28.400" v="770" actId="14100"/>
          <ac:spMkLst>
            <pc:docMk/>
            <pc:sldMk cId="3100740622" sldId="5274"/>
            <ac:spMk id="24" creationId="{C81FD908-6A4B-3355-7897-B0C8D5D06E48}"/>
          </ac:spMkLst>
        </pc:spChg>
        <pc:spChg chg="add mod">
          <ac:chgData name="Loic Guillot" userId="0fc2d07e-ea6a-4f5d-b4bd-9b71a401db7e" providerId="ADAL" clId="{3A56FE31-FFE1-49E8-A67E-8CC944920BFD}" dt="2023-08-08T08:33:53.185" v="3987" actId="20577"/>
          <ac:spMkLst>
            <pc:docMk/>
            <pc:sldMk cId="3100740622" sldId="5274"/>
            <ac:spMk id="25" creationId="{32F4FADD-1390-6DD1-D6FB-4CFDE37A92DA}"/>
          </ac:spMkLst>
        </pc:spChg>
        <pc:spChg chg="del mod">
          <ac:chgData name="Loic Guillot" userId="0fc2d07e-ea6a-4f5d-b4bd-9b71a401db7e" providerId="ADAL" clId="{3A56FE31-FFE1-49E8-A67E-8CC944920BFD}" dt="2023-08-07T07:56:44.574" v="752" actId="478"/>
          <ac:spMkLst>
            <pc:docMk/>
            <pc:sldMk cId="3100740622" sldId="5274"/>
            <ac:spMk id="26" creationId="{A5EDF71A-8D9A-F6A1-0C3F-EE2408EC99BE}"/>
          </ac:spMkLst>
        </pc:spChg>
        <pc:picChg chg="del">
          <ac:chgData name="Loic Guillot" userId="0fc2d07e-ea6a-4f5d-b4bd-9b71a401db7e" providerId="ADAL" clId="{3A56FE31-FFE1-49E8-A67E-8CC944920BFD}" dt="2023-08-07T07:56:02.587" v="732" actId="478"/>
          <ac:picMkLst>
            <pc:docMk/>
            <pc:sldMk cId="3100740622" sldId="5274"/>
            <ac:picMk id="10" creationId="{EE3D682D-F4CB-713E-DEE2-B2AEC9C3F0A5}"/>
          </ac:picMkLst>
        </pc:picChg>
        <pc:cxnChg chg="del mod">
          <ac:chgData name="Loic Guillot" userId="0fc2d07e-ea6a-4f5d-b4bd-9b71a401db7e" providerId="ADAL" clId="{3A56FE31-FFE1-49E8-A67E-8CC944920BFD}" dt="2023-08-07T07:56:08.456" v="733" actId="478"/>
          <ac:cxnSpMkLst>
            <pc:docMk/>
            <pc:sldMk cId="3100740622" sldId="5274"/>
            <ac:cxnSpMk id="16" creationId="{0403CEFC-FC27-727A-DAC6-0BDBB5DE7A58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28" creationId="{95E81AA4-DEAF-9D2D-11BD-BD0C3DC8D7AE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29" creationId="{EB0F8593-0A4F-AAFD-E88A-A3D436E05FC3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33" creationId="{F0A34814-28AA-57B1-375A-DC85DA71154A}"/>
          </ac:cxnSpMkLst>
        </pc:cxnChg>
        <pc:cxnChg chg="del mod">
          <ac:chgData name="Loic Guillot" userId="0fc2d07e-ea6a-4f5d-b4bd-9b71a401db7e" providerId="ADAL" clId="{3A56FE31-FFE1-49E8-A67E-8CC944920BFD}" dt="2023-08-07T07:56:13.562" v="738" actId="478"/>
          <ac:cxnSpMkLst>
            <pc:docMk/>
            <pc:sldMk cId="3100740622" sldId="5274"/>
            <ac:cxnSpMk id="36" creationId="{1337E40C-982D-0049-DAAD-0C09993B8DCE}"/>
          </ac:cxnSpMkLst>
        </pc:cxnChg>
        <pc:cxnChg chg="del mod">
          <ac:chgData name="Loic Guillot" userId="0fc2d07e-ea6a-4f5d-b4bd-9b71a401db7e" providerId="ADAL" clId="{3A56FE31-FFE1-49E8-A67E-8CC944920BFD}" dt="2023-08-07T07:56:12.961" v="737" actId="478"/>
          <ac:cxnSpMkLst>
            <pc:docMk/>
            <pc:sldMk cId="3100740622" sldId="5274"/>
            <ac:cxnSpMk id="39" creationId="{9F30673A-B014-061D-9CCD-E1C427BEE614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40" creationId="{F1B4820D-CD07-F053-04A3-9904689917C6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45" creationId="{9D28A9B8-1EDC-45EE-C0BD-907A984E82EA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48" creationId="{3CDCC1D2-F2E5-9244-1F4D-867806882FFB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51" creationId="{3C72E312-01A7-5212-1C16-A919100053A7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54" creationId="{CB16A940-12BF-322A-7319-03FBD432A23A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57" creationId="{B7FA4574-2971-F085-B223-3952E366F6F4}"/>
          </ac:cxnSpMkLst>
        </pc:cxnChg>
        <pc:cxnChg chg="add mod">
          <ac:chgData name="Loic Guillot" userId="0fc2d07e-ea6a-4f5d-b4bd-9b71a401db7e" providerId="ADAL" clId="{3A56FE31-FFE1-49E8-A67E-8CC944920BFD}" dt="2023-08-07T08:06:45.892" v="941" actId="1038"/>
          <ac:cxnSpMkLst>
            <pc:docMk/>
            <pc:sldMk cId="3100740622" sldId="5274"/>
            <ac:cxnSpMk id="60" creationId="{9019FE3E-DEA6-99C2-E1D1-3F353597E799}"/>
          </ac:cxnSpMkLst>
        </pc:cxnChg>
        <pc:cxnChg chg="add mod">
          <ac:chgData name="Loic Guillot" userId="0fc2d07e-ea6a-4f5d-b4bd-9b71a401db7e" providerId="ADAL" clId="{3A56FE31-FFE1-49E8-A67E-8CC944920BFD}" dt="2023-08-07T08:06:49.890" v="942" actId="1076"/>
          <ac:cxnSpMkLst>
            <pc:docMk/>
            <pc:sldMk cId="3100740622" sldId="5274"/>
            <ac:cxnSpMk id="63" creationId="{C3561586-7F6E-A471-C76D-36E8A2690720}"/>
          </ac:cxnSpMkLst>
        </pc:cxnChg>
      </pc:sldChg>
      <pc:sldChg chg="new del ord">
        <pc:chgData name="Loic Guillot" userId="0fc2d07e-ea6a-4f5d-b4bd-9b71a401db7e" providerId="ADAL" clId="{3A56FE31-FFE1-49E8-A67E-8CC944920BFD}" dt="2023-08-07T08:18:11.102" v="1071" actId="47"/>
        <pc:sldMkLst>
          <pc:docMk/>
          <pc:sldMk cId="1600275137" sldId="5275"/>
        </pc:sldMkLst>
      </pc:sldChg>
      <pc:sldChg chg="addSp delSp modSp add mod ord">
        <pc:chgData name="Loic Guillot" userId="0fc2d07e-ea6a-4f5d-b4bd-9b71a401db7e" providerId="ADAL" clId="{3A56FE31-FFE1-49E8-A67E-8CC944920BFD}" dt="2023-08-07T08:41:29.864" v="1877" actId="207"/>
        <pc:sldMkLst>
          <pc:docMk/>
          <pc:sldMk cId="3400077430" sldId="5276"/>
        </pc:sldMkLst>
        <pc:spChg chg="add del mod">
          <ac:chgData name="Loic Guillot" userId="0fc2d07e-ea6a-4f5d-b4bd-9b71a401db7e" providerId="ADAL" clId="{3A56FE31-FFE1-49E8-A67E-8CC944920BFD}" dt="2023-08-07T08:19:32.301" v="1151"/>
          <ac:spMkLst>
            <pc:docMk/>
            <pc:sldMk cId="3400077430" sldId="5276"/>
            <ac:spMk id="2" creationId="{7D8D9BCD-85D9-06BF-C0C4-96B9236C72BD}"/>
          </ac:spMkLst>
        </pc:spChg>
        <pc:spChg chg="del">
          <ac:chgData name="Loic Guillot" userId="0fc2d07e-ea6a-4f5d-b4bd-9b71a401db7e" providerId="ADAL" clId="{3A56FE31-FFE1-49E8-A67E-8CC944920BFD}" dt="2023-08-07T08:18:37.751" v="1092" actId="478"/>
          <ac:spMkLst>
            <pc:docMk/>
            <pc:sldMk cId="3400077430" sldId="5276"/>
            <ac:spMk id="4" creationId="{275371F6-A391-4FD7-4F84-C73218EEA71B}"/>
          </ac:spMkLst>
        </pc:spChg>
        <pc:spChg chg="del">
          <ac:chgData name="Loic Guillot" userId="0fc2d07e-ea6a-4f5d-b4bd-9b71a401db7e" providerId="ADAL" clId="{3A56FE31-FFE1-49E8-A67E-8CC944920BFD}" dt="2023-08-07T08:18:39.143" v="1093" actId="478"/>
          <ac:spMkLst>
            <pc:docMk/>
            <pc:sldMk cId="3400077430" sldId="5276"/>
            <ac:spMk id="5" creationId="{2131983C-CA60-E5BE-B80E-C8774489F9A1}"/>
          </ac:spMkLst>
        </pc:spChg>
        <pc:spChg chg="mod">
          <ac:chgData name="Loic Guillot" userId="0fc2d07e-ea6a-4f5d-b4bd-9b71a401db7e" providerId="ADAL" clId="{3A56FE31-FFE1-49E8-A67E-8CC944920BFD}" dt="2023-08-07T08:18:33.611" v="1091" actId="20577"/>
          <ac:spMkLst>
            <pc:docMk/>
            <pc:sldMk cId="3400077430" sldId="5276"/>
            <ac:spMk id="6" creationId="{639E1ACF-92AF-FCE8-DEF2-B07BC9D504E5}"/>
          </ac:spMkLst>
        </pc:spChg>
        <pc:spChg chg="add mod">
          <ac:chgData name="Loic Guillot" userId="0fc2d07e-ea6a-4f5d-b4bd-9b71a401db7e" providerId="ADAL" clId="{3A56FE31-FFE1-49E8-A67E-8CC944920BFD}" dt="2023-08-07T08:23:56.736" v="1467" actId="1036"/>
          <ac:spMkLst>
            <pc:docMk/>
            <pc:sldMk cId="3400077430" sldId="5276"/>
            <ac:spMk id="7" creationId="{A77DD80B-C0EB-2A8D-1630-22D1FA4D44CE}"/>
          </ac:spMkLst>
        </pc:spChg>
        <pc:spChg chg="del">
          <ac:chgData name="Loic Guillot" userId="0fc2d07e-ea6a-4f5d-b4bd-9b71a401db7e" providerId="ADAL" clId="{3A56FE31-FFE1-49E8-A67E-8CC944920BFD}" dt="2023-08-07T08:18:40.549" v="1094" actId="478"/>
          <ac:spMkLst>
            <pc:docMk/>
            <pc:sldMk cId="3400077430" sldId="5276"/>
            <ac:spMk id="8" creationId="{32B1E671-CAE4-F155-EEA6-82D9053BA16E}"/>
          </ac:spMkLst>
        </pc:spChg>
        <pc:spChg chg="add mod">
          <ac:chgData name="Loic Guillot" userId="0fc2d07e-ea6a-4f5d-b4bd-9b71a401db7e" providerId="ADAL" clId="{3A56FE31-FFE1-49E8-A67E-8CC944920BFD}" dt="2023-08-07T08:23:56.736" v="1467" actId="1036"/>
          <ac:spMkLst>
            <pc:docMk/>
            <pc:sldMk cId="3400077430" sldId="5276"/>
            <ac:spMk id="9" creationId="{F9ADCC59-6BA8-1F8F-591D-0C7E2BF59730}"/>
          </ac:spMkLst>
        </pc:spChg>
        <pc:spChg chg="add mod">
          <ac:chgData name="Loic Guillot" userId="0fc2d07e-ea6a-4f5d-b4bd-9b71a401db7e" providerId="ADAL" clId="{3A56FE31-FFE1-49E8-A67E-8CC944920BFD}" dt="2023-08-07T08:32:25.009" v="1717" actId="14100"/>
          <ac:spMkLst>
            <pc:docMk/>
            <pc:sldMk cId="3400077430" sldId="5276"/>
            <ac:spMk id="10" creationId="{D1712E19-1518-B6AB-AFF2-F89B6978F133}"/>
          </ac:spMkLst>
        </pc:spChg>
        <pc:spChg chg="add mod">
          <ac:chgData name="Loic Guillot" userId="0fc2d07e-ea6a-4f5d-b4bd-9b71a401db7e" providerId="ADAL" clId="{3A56FE31-FFE1-49E8-A67E-8CC944920BFD}" dt="2023-08-07T08:41:22.627" v="1875" actId="207"/>
          <ac:spMkLst>
            <pc:docMk/>
            <pc:sldMk cId="3400077430" sldId="5276"/>
            <ac:spMk id="11" creationId="{833B6495-F452-7D1E-1855-520441315942}"/>
          </ac:spMkLst>
        </pc:spChg>
        <pc:spChg chg="add mod">
          <ac:chgData name="Loic Guillot" userId="0fc2d07e-ea6a-4f5d-b4bd-9b71a401db7e" providerId="ADAL" clId="{3A56FE31-FFE1-49E8-A67E-8CC944920BFD}" dt="2023-08-07T08:41:26.690" v="1876" actId="207"/>
          <ac:spMkLst>
            <pc:docMk/>
            <pc:sldMk cId="3400077430" sldId="5276"/>
            <ac:spMk id="12" creationId="{9B216283-4B19-3F67-A87D-E62C1DC5C96B}"/>
          </ac:spMkLst>
        </pc:spChg>
        <pc:spChg chg="add mod">
          <ac:chgData name="Loic Guillot" userId="0fc2d07e-ea6a-4f5d-b4bd-9b71a401db7e" providerId="ADAL" clId="{3A56FE31-FFE1-49E8-A67E-8CC944920BFD}" dt="2023-08-07T08:41:29.864" v="1877" actId="207"/>
          <ac:spMkLst>
            <pc:docMk/>
            <pc:sldMk cId="3400077430" sldId="5276"/>
            <ac:spMk id="13" creationId="{2A4EE078-66B2-4E7E-CC63-A301CE830FCB}"/>
          </ac:spMkLst>
        </pc:spChg>
        <pc:spChg chg="add mod">
          <ac:chgData name="Loic Guillot" userId="0fc2d07e-ea6a-4f5d-b4bd-9b71a401db7e" providerId="ADAL" clId="{3A56FE31-FFE1-49E8-A67E-8CC944920BFD}" dt="2023-08-07T08:32:04.754" v="1713" actId="58"/>
          <ac:spMkLst>
            <pc:docMk/>
            <pc:sldMk cId="3400077430" sldId="5276"/>
            <ac:spMk id="14" creationId="{529D030E-A69B-D748-502C-AD98A0DA0CB3}"/>
          </ac:spMkLst>
        </pc:spChg>
        <pc:spChg chg="add mod">
          <ac:chgData name="Loic Guillot" userId="0fc2d07e-ea6a-4f5d-b4bd-9b71a401db7e" providerId="ADAL" clId="{3A56FE31-FFE1-49E8-A67E-8CC944920BFD}" dt="2023-08-07T08:35:03.361" v="1819" actId="58"/>
          <ac:spMkLst>
            <pc:docMk/>
            <pc:sldMk cId="3400077430" sldId="5276"/>
            <ac:spMk id="15" creationId="{91082399-2F73-DEC4-9B7F-133AC5B536D1}"/>
          </ac:spMkLst>
        </pc:spChg>
        <pc:spChg chg="add mod">
          <ac:chgData name="Loic Guillot" userId="0fc2d07e-ea6a-4f5d-b4bd-9b71a401db7e" providerId="ADAL" clId="{3A56FE31-FFE1-49E8-A67E-8CC944920BFD}" dt="2023-08-07T08:32:46.337" v="1743" actId="20577"/>
          <ac:spMkLst>
            <pc:docMk/>
            <pc:sldMk cId="3400077430" sldId="5276"/>
            <ac:spMk id="16" creationId="{092291FE-4A90-5832-52A9-F82BDDB01321}"/>
          </ac:spMkLst>
        </pc:spChg>
        <pc:cxnChg chg="add">
          <ac:chgData name="Loic Guillot" userId="0fc2d07e-ea6a-4f5d-b4bd-9b71a401db7e" providerId="ADAL" clId="{3A56FE31-FFE1-49E8-A67E-8CC944920BFD}" dt="2023-08-07T08:34:26.738" v="1780" actId="11529"/>
          <ac:cxnSpMkLst>
            <pc:docMk/>
            <pc:sldMk cId="3400077430" sldId="5276"/>
            <ac:cxnSpMk id="18" creationId="{C4BFDB19-5BD4-354C-F8D5-38A824148051}"/>
          </ac:cxnSpMkLst>
        </pc:cxnChg>
        <pc:cxnChg chg="add mod">
          <ac:chgData name="Loic Guillot" userId="0fc2d07e-ea6a-4f5d-b4bd-9b71a401db7e" providerId="ADAL" clId="{3A56FE31-FFE1-49E8-A67E-8CC944920BFD}" dt="2023-08-07T08:35:16.188" v="1822" actId="14100"/>
          <ac:cxnSpMkLst>
            <pc:docMk/>
            <pc:sldMk cId="3400077430" sldId="5276"/>
            <ac:cxnSpMk id="19" creationId="{A6B249AA-F7DB-BD3A-F71E-57319CFAEA2F}"/>
          </ac:cxnSpMkLst>
        </pc:cxnChg>
        <pc:cxnChg chg="add mod">
          <ac:chgData name="Loic Guillot" userId="0fc2d07e-ea6a-4f5d-b4bd-9b71a401db7e" providerId="ADAL" clId="{3A56FE31-FFE1-49E8-A67E-8CC944920BFD}" dt="2023-08-07T08:35:21.287" v="1825" actId="14100"/>
          <ac:cxnSpMkLst>
            <pc:docMk/>
            <pc:sldMk cId="3400077430" sldId="5276"/>
            <ac:cxnSpMk id="22" creationId="{EE727EA3-3052-4C58-2929-B83A48F6028E}"/>
          </ac:cxnSpMkLst>
        </pc:cxnChg>
        <pc:cxnChg chg="add mod">
          <ac:chgData name="Loic Guillot" userId="0fc2d07e-ea6a-4f5d-b4bd-9b71a401db7e" providerId="ADAL" clId="{3A56FE31-FFE1-49E8-A67E-8CC944920BFD}" dt="2023-08-07T08:35:31.825" v="1829" actId="14100"/>
          <ac:cxnSpMkLst>
            <pc:docMk/>
            <pc:sldMk cId="3400077430" sldId="5276"/>
            <ac:cxnSpMk id="25" creationId="{8D09CBA2-AC8D-0D5A-BE99-9B9C6E3738EE}"/>
          </ac:cxnSpMkLst>
        </pc:cxnChg>
      </pc:sldChg>
      <pc:sldChg chg="addSp delSp modSp add mod">
        <pc:chgData name="Loic Guillot" userId="0fc2d07e-ea6a-4f5d-b4bd-9b71a401db7e" providerId="ADAL" clId="{3A56FE31-FFE1-49E8-A67E-8CC944920BFD}" dt="2023-08-07T09:08:03.824" v="2500" actId="14100"/>
        <pc:sldMkLst>
          <pc:docMk/>
          <pc:sldMk cId="2987916789" sldId="5277"/>
        </pc:sldMkLst>
        <pc:spChg chg="add mod">
          <ac:chgData name="Loic Guillot" userId="0fc2d07e-ea6a-4f5d-b4bd-9b71a401db7e" providerId="ADAL" clId="{3A56FE31-FFE1-49E8-A67E-8CC944920BFD}" dt="2023-08-07T08:48:08.685" v="2055" actId="14100"/>
          <ac:spMkLst>
            <pc:docMk/>
            <pc:sldMk cId="2987916789" sldId="5277"/>
            <ac:spMk id="2" creationId="{AB0FBDC6-A77C-3CD1-A43F-73CC1F8DA629}"/>
          </ac:spMkLst>
        </pc:spChg>
        <pc:spChg chg="add del mod">
          <ac:chgData name="Loic Guillot" userId="0fc2d07e-ea6a-4f5d-b4bd-9b71a401db7e" providerId="ADAL" clId="{3A56FE31-FFE1-49E8-A67E-8CC944920BFD}" dt="2023-08-07T08:50:35.590" v="2064"/>
          <ac:spMkLst>
            <pc:docMk/>
            <pc:sldMk cId="2987916789" sldId="5277"/>
            <ac:spMk id="5" creationId="{8725147B-3ACF-0981-268E-DA0D4916B408}"/>
          </ac:spMkLst>
        </pc:spChg>
        <pc:spChg chg="add mod">
          <ac:chgData name="Loic Guillot" userId="0fc2d07e-ea6a-4f5d-b4bd-9b71a401db7e" providerId="ADAL" clId="{3A56FE31-FFE1-49E8-A67E-8CC944920BFD}" dt="2023-08-07T09:04:01.582" v="2485" actId="14100"/>
          <ac:spMkLst>
            <pc:docMk/>
            <pc:sldMk cId="2987916789" sldId="5277"/>
            <ac:spMk id="8" creationId="{3493C883-A124-ECE5-6118-C5745B201E05}"/>
          </ac:spMkLst>
        </pc:spChg>
        <pc:spChg chg="del">
          <ac:chgData name="Loic Guillot" userId="0fc2d07e-ea6a-4f5d-b4bd-9b71a401db7e" providerId="ADAL" clId="{3A56FE31-FFE1-49E8-A67E-8CC944920BFD}" dt="2023-08-07T08:48:02.534" v="2053" actId="478"/>
          <ac:spMkLst>
            <pc:docMk/>
            <pc:sldMk cId="2987916789" sldId="5277"/>
            <ac:spMk id="9" creationId="{F9ADCC59-6BA8-1F8F-591D-0C7E2BF59730}"/>
          </ac:spMkLst>
        </pc:spChg>
        <pc:spChg chg="del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0" creationId="{D1712E19-1518-B6AB-AFF2-F89B6978F133}"/>
          </ac:spMkLst>
        </pc:spChg>
        <pc:spChg chg="del mod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1" creationId="{833B6495-F452-7D1E-1855-520441315942}"/>
          </ac:spMkLst>
        </pc:spChg>
        <pc:spChg chg="del mod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2" creationId="{9B216283-4B19-3F67-A87D-E62C1DC5C96B}"/>
          </ac:spMkLst>
        </pc:spChg>
        <pc:spChg chg="del mod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3" creationId="{2A4EE078-66B2-4E7E-CC63-A301CE830FCB}"/>
          </ac:spMkLst>
        </pc:spChg>
        <pc:spChg chg="del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4" creationId="{529D030E-A69B-D748-502C-AD98A0DA0CB3}"/>
          </ac:spMkLst>
        </pc:spChg>
        <pc:spChg chg="del">
          <ac:chgData name="Loic Guillot" userId="0fc2d07e-ea6a-4f5d-b4bd-9b71a401db7e" providerId="ADAL" clId="{3A56FE31-FFE1-49E8-A67E-8CC944920BFD}" dt="2023-08-07T08:50:13.307" v="2058" actId="478"/>
          <ac:spMkLst>
            <pc:docMk/>
            <pc:sldMk cId="2987916789" sldId="5277"/>
            <ac:spMk id="15" creationId="{91082399-2F73-DEC4-9B7F-133AC5B536D1}"/>
          </ac:spMkLst>
        </pc:spChg>
        <pc:spChg chg="mod">
          <ac:chgData name="Loic Guillot" userId="0fc2d07e-ea6a-4f5d-b4bd-9b71a401db7e" providerId="ADAL" clId="{3A56FE31-FFE1-49E8-A67E-8CC944920BFD}" dt="2023-08-07T08:32:59.224" v="1758" actId="20577"/>
          <ac:spMkLst>
            <pc:docMk/>
            <pc:sldMk cId="2987916789" sldId="5277"/>
            <ac:spMk id="16" creationId="{092291FE-4A90-5832-52A9-F82BDDB01321}"/>
          </ac:spMkLst>
        </pc:spChg>
        <pc:graphicFrameChg chg="add mod">
          <ac:chgData name="Loic Guillot" userId="0fc2d07e-ea6a-4f5d-b4bd-9b71a401db7e" providerId="ADAL" clId="{3A56FE31-FFE1-49E8-A67E-8CC944920BFD}" dt="2023-08-07T09:07:46.452" v="2496" actId="14100"/>
          <ac:graphicFrameMkLst>
            <pc:docMk/>
            <pc:sldMk cId="2987916789" sldId="5277"/>
            <ac:graphicFrameMk id="4" creationId="{8ACDD29D-33EE-3CD5-6450-30AC59D3C48F}"/>
          </ac:graphicFrameMkLst>
        </pc:graphicFrameChg>
        <pc:graphicFrameChg chg="add mod">
          <ac:chgData name="Loic Guillot" userId="0fc2d07e-ea6a-4f5d-b4bd-9b71a401db7e" providerId="ADAL" clId="{3A56FE31-FFE1-49E8-A67E-8CC944920BFD}" dt="2023-08-07T09:08:03.824" v="2500" actId="14100"/>
          <ac:graphicFrameMkLst>
            <pc:docMk/>
            <pc:sldMk cId="2987916789" sldId="5277"/>
            <ac:graphicFrameMk id="17" creationId="{44876971-DC98-E1EF-D108-85FEC5BB4B9E}"/>
          </ac:graphicFrameMkLst>
        </pc:graphicFrameChg>
      </pc:sldChg>
      <pc:sldChg chg="addSp delSp modSp add mod">
        <pc:chgData name="Loic Guillot" userId="0fc2d07e-ea6a-4f5d-b4bd-9b71a401db7e" providerId="ADAL" clId="{3A56FE31-FFE1-49E8-A67E-8CC944920BFD}" dt="2023-08-07T08:47:34.497" v="2051" actId="1076"/>
        <pc:sldMkLst>
          <pc:docMk/>
          <pc:sldMk cId="4172554267" sldId="5278"/>
        </pc:sldMkLst>
        <pc:spChg chg="add mod">
          <ac:chgData name="Loic Guillot" userId="0fc2d07e-ea6a-4f5d-b4bd-9b71a401db7e" providerId="ADAL" clId="{3A56FE31-FFE1-49E8-A67E-8CC944920BFD}" dt="2023-08-07T08:36:13.056" v="1845" actId="1076"/>
          <ac:spMkLst>
            <pc:docMk/>
            <pc:sldMk cId="4172554267" sldId="5278"/>
            <ac:spMk id="2" creationId="{873FFACD-A955-CFCE-1039-C2C9E58A5191}"/>
          </ac:spMkLst>
        </pc:spChg>
        <pc:spChg chg="add mod">
          <ac:chgData name="Loic Guillot" userId="0fc2d07e-ea6a-4f5d-b4bd-9b71a401db7e" providerId="ADAL" clId="{3A56FE31-FFE1-49E8-A67E-8CC944920BFD}" dt="2023-08-07T08:45:40.365" v="2014" actId="1037"/>
          <ac:spMkLst>
            <pc:docMk/>
            <pc:sldMk cId="4172554267" sldId="5278"/>
            <ac:spMk id="5" creationId="{57D71E04-38BE-377A-B28E-5F397D5967B0}"/>
          </ac:spMkLst>
        </pc:spChg>
        <pc:spChg chg="mod">
          <ac:chgData name="Loic Guillot" userId="0fc2d07e-ea6a-4f5d-b4bd-9b71a401db7e" providerId="ADAL" clId="{3A56FE31-FFE1-49E8-A67E-8CC944920BFD}" dt="2023-08-07T08:36:10.900" v="1844" actId="1076"/>
          <ac:spMkLst>
            <pc:docMk/>
            <pc:sldMk cId="4172554267" sldId="5278"/>
            <ac:spMk id="7" creationId="{A77DD80B-C0EB-2A8D-1630-22D1FA4D44CE}"/>
          </ac:spMkLst>
        </pc:spChg>
        <pc:spChg chg="add mod">
          <ac:chgData name="Loic Guillot" userId="0fc2d07e-ea6a-4f5d-b4bd-9b71a401db7e" providerId="ADAL" clId="{3A56FE31-FFE1-49E8-A67E-8CC944920BFD}" dt="2023-08-07T08:39:17.334" v="1863" actId="1076"/>
          <ac:spMkLst>
            <pc:docMk/>
            <pc:sldMk cId="4172554267" sldId="5278"/>
            <ac:spMk id="8" creationId="{855003C9-5A6A-658E-800A-824B4C24F5F6}"/>
          </ac:spMkLst>
        </pc:spChg>
        <pc:spChg chg="del">
          <ac:chgData name="Loic Guillot" userId="0fc2d07e-ea6a-4f5d-b4bd-9b71a401db7e" providerId="ADAL" clId="{3A56FE31-FFE1-49E8-A67E-8CC944920BFD}" dt="2023-08-07T08:36:06.686" v="1842" actId="478"/>
          <ac:spMkLst>
            <pc:docMk/>
            <pc:sldMk cId="4172554267" sldId="5278"/>
            <ac:spMk id="9" creationId="{F9ADCC59-6BA8-1F8F-591D-0C7E2BF59730}"/>
          </ac:spMkLst>
        </pc:spChg>
        <pc:spChg chg="del">
          <ac:chgData name="Loic Guillot" userId="0fc2d07e-ea6a-4f5d-b4bd-9b71a401db7e" providerId="ADAL" clId="{3A56FE31-FFE1-49E8-A67E-8CC944920BFD}" dt="2023-08-07T08:36:48.580" v="1848" actId="478"/>
          <ac:spMkLst>
            <pc:docMk/>
            <pc:sldMk cId="4172554267" sldId="5278"/>
            <ac:spMk id="10" creationId="{D1712E19-1518-B6AB-AFF2-F89B6978F133}"/>
          </ac:spMkLst>
        </pc:spChg>
        <pc:spChg chg="del mod">
          <ac:chgData name="Loic Guillot" userId="0fc2d07e-ea6a-4f5d-b4bd-9b71a401db7e" providerId="ADAL" clId="{3A56FE31-FFE1-49E8-A67E-8CC944920BFD}" dt="2023-08-07T08:39:33.665" v="1866" actId="478"/>
          <ac:spMkLst>
            <pc:docMk/>
            <pc:sldMk cId="4172554267" sldId="5278"/>
            <ac:spMk id="11" creationId="{833B6495-F452-7D1E-1855-520441315942}"/>
          </ac:spMkLst>
        </pc:spChg>
        <pc:spChg chg="del">
          <ac:chgData name="Loic Guillot" userId="0fc2d07e-ea6a-4f5d-b4bd-9b71a401db7e" providerId="ADAL" clId="{3A56FE31-FFE1-49E8-A67E-8CC944920BFD}" dt="2023-08-07T08:39:33.665" v="1866" actId="478"/>
          <ac:spMkLst>
            <pc:docMk/>
            <pc:sldMk cId="4172554267" sldId="5278"/>
            <ac:spMk id="12" creationId="{9B216283-4B19-3F67-A87D-E62C1DC5C96B}"/>
          </ac:spMkLst>
        </pc:spChg>
        <pc:spChg chg="del">
          <ac:chgData name="Loic Guillot" userId="0fc2d07e-ea6a-4f5d-b4bd-9b71a401db7e" providerId="ADAL" clId="{3A56FE31-FFE1-49E8-A67E-8CC944920BFD}" dt="2023-08-07T08:39:33.665" v="1866" actId="478"/>
          <ac:spMkLst>
            <pc:docMk/>
            <pc:sldMk cId="4172554267" sldId="5278"/>
            <ac:spMk id="13" creationId="{2A4EE078-66B2-4E7E-CC63-A301CE830FCB}"/>
          </ac:spMkLst>
        </pc:spChg>
        <pc:spChg chg="del">
          <ac:chgData name="Loic Guillot" userId="0fc2d07e-ea6a-4f5d-b4bd-9b71a401db7e" providerId="ADAL" clId="{3A56FE31-FFE1-49E8-A67E-8CC944920BFD}" dt="2023-08-07T08:36:49.090" v="1849" actId="478"/>
          <ac:spMkLst>
            <pc:docMk/>
            <pc:sldMk cId="4172554267" sldId="5278"/>
            <ac:spMk id="14" creationId="{529D030E-A69B-D748-502C-AD98A0DA0CB3}"/>
          </ac:spMkLst>
        </pc:spChg>
        <pc:spChg chg="del">
          <ac:chgData name="Loic Guillot" userId="0fc2d07e-ea6a-4f5d-b4bd-9b71a401db7e" providerId="ADAL" clId="{3A56FE31-FFE1-49E8-A67E-8CC944920BFD}" dt="2023-08-07T08:36:50.138" v="1850" actId="478"/>
          <ac:spMkLst>
            <pc:docMk/>
            <pc:sldMk cId="4172554267" sldId="5278"/>
            <ac:spMk id="15" creationId="{91082399-2F73-DEC4-9B7F-133AC5B536D1}"/>
          </ac:spMkLst>
        </pc:spChg>
        <pc:spChg chg="mod">
          <ac:chgData name="Loic Guillot" userId="0fc2d07e-ea6a-4f5d-b4bd-9b71a401db7e" providerId="ADAL" clId="{3A56FE31-FFE1-49E8-A67E-8CC944920BFD}" dt="2023-08-07T08:35:55.952" v="1840" actId="20577"/>
          <ac:spMkLst>
            <pc:docMk/>
            <pc:sldMk cId="4172554267" sldId="5278"/>
            <ac:spMk id="16" creationId="{092291FE-4A90-5832-52A9-F82BDDB01321}"/>
          </ac:spMkLst>
        </pc:spChg>
        <pc:spChg chg="add mod">
          <ac:chgData name="Loic Guillot" userId="0fc2d07e-ea6a-4f5d-b4bd-9b71a401db7e" providerId="ADAL" clId="{3A56FE31-FFE1-49E8-A67E-8CC944920BFD}" dt="2023-08-07T08:47:34.497" v="2051" actId="1076"/>
          <ac:spMkLst>
            <pc:docMk/>
            <pc:sldMk cId="4172554267" sldId="5278"/>
            <ac:spMk id="17" creationId="{671F8E6D-652C-A43B-8B20-2CAF53BAE023}"/>
          </ac:spMkLst>
        </pc:spChg>
        <pc:spChg chg="add mod">
          <ac:chgData name="Loic Guillot" userId="0fc2d07e-ea6a-4f5d-b4bd-9b71a401db7e" providerId="ADAL" clId="{3A56FE31-FFE1-49E8-A67E-8CC944920BFD}" dt="2023-08-07T08:45:40.365" v="2014" actId="1037"/>
          <ac:spMkLst>
            <pc:docMk/>
            <pc:sldMk cId="4172554267" sldId="5278"/>
            <ac:spMk id="18" creationId="{449DF560-5DA3-F1AC-6B93-C72E2031DA5B}"/>
          </ac:spMkLst>
        </pc:spChg>
        <pc:spChg chg="add mod">
          <ac:chgData name="Loic Guillot" userId="0fc2d07e-ea6a-4f5d-b4bd-9b71a401db7e" providerId="ADAL" clId="{3A56FE31-FFE1-49E8-A67E-8CC944920BFD}" dt="2023-08-07T08:45:40.365" v="2014" actId="1037"/>
          <ac:spMkLst>
            <pc:docMk/>
            <pc:sldMk cId="4172554267" sldId="5278"/>
            <ac:spMk id="19" creationId="{FB59B075-D685-BF8E-3BF8-36857F9E96E4}"/>
          </ac:spMkLst>
        </pc:spChg>
        <pc:spChg chg="add mod">
          <ac:chgData name="Loic Guillot" userId="0fc2d07e-ea6a-4f5d-b4bd-9b71a401db7e" providerId="ADAL" clId="{3A56FE31-FFE1-49E8-A67E-8CC944920BFD}" dt="2023-08-07T08:45:40.365" v="2014" actId="1037"/>
          <ac:spMkLst>
            <pc:docMk/>
            <pc:sldMk cId="4172554267" sldId="5278"/>
            <ac:spMk id="20" creationId="{890DD4D9-3421-32FF-AB34-965E5FA4E761}"/>
          </ac:spMkLst>
        </pc:spChg>
        <pc:spChg chg="add mod">
          <ac:chgData name="Loic Guillot" userId="0fc2d07e-ea6a-4f5d-b4bd-9b71a401db7e" providerId="ADAL" clId="{3A56FE31-FFE1-49E8-A67E-8CC944920BFD}" dt="2023-08-07T08:45:59.038" v="2016" actId="207"/>
          <ac:spMkLst>
            <pc:docMk/>
            <pc:sldMk cId="4172554267" sldId="5278"/>
            <ac:spMk id="21" creationId="{BB6D0273-4E2E-4D0D-EE0D-E4C95A1415C4}"/>
          </ac:spMkLst>
        </pc:spChg>
        <pc:spChg chg="add del mod">
          <ac:chgData name="Loic Guillot" userId="0fc2d07e-ea6a-4f5d-b4bd-9b71a401db7e" providerId="ADAL" clId="{3A56FE31-FFE1-49E8-A67E-8CC944920BFD}" dt="2023-08-07T08:47:33.740" v="2049"/>
          <ac:spMkLst>
            <pc:docMk/>
            <pc:sldMk cId="4172554267" sldId="5278"/>
            <ac:spMk id="29" creationId="{9423DAC7-3EE7-F118-773D-1824EC98A65F}"/>
          </ac:spMkLst>
        </pc:spChg>
        <pc:picChg chg="add mod">
          <ac:chgData name="Loic Guillot" userId="0fc2d07e-ea6a-4f5d-b4bd-9b71a401db7e" providerId="ADAL" clId="{3A56FE31-FFE1-49E8-A67E-8CC944920BFD}" dt="2023-08-07T08:45:40.365" v="2014" actId="1037"/>
          <ac:picMkLst>
            <pc:docMk/>
            <pc:sldMk cId="4172554267" sldId="5278"/>
            <ac:picMk id="4" creationId="{6CC4755D-A3A3-98DA-E25E-F323B8EAE341}"/>
          </ac:picMkLst>
        </pc:picChg>
        <pc:cxnChg chg="add">
          <ac:chgData name="Loic Guillot" userId="0fc2d07e-ea6a-4f5d-b4bd-9b71a401db7e" providerId="ADAL" clId="{3A56FE31-FFE1-49E8-A67E-8CC944920BFD}" dt="2023-08-07T08:46:34.070" v="2017" actId="11529"/>
          <ac:cxnSpMkLst>
            <pc:docMk/>
            <pc:sldMk cId="4172554267" sldId="5278"/>
            <ac:cxnSpMk id="23" creationId="{FA255274-3946-2E9F-BAB9-DFBB053A4DEE}"/>
          </ac:cxnSpMkLst>
        </pc:cxnChg>
        <pc:cxnChg chg="add mod">
          <ac:chgData name="Loic Guillot" userId="0fc2d07e-ea6a-4f5d-b4bd-9b71a401db7e" providerId="ADAL" clId="{3A56FE31-FFE1-49E8-A67E-8CC944920BFD}" dt="2023-08-07T08:47:34.497" v="2051" actId="1076"/>
          <ac:cxnSpMkLst>
            <pc:docMk/>
            <pc:sldMk cId="4172554267" sldId="5278"/>
            <ac:cxnSpMk id="24" creationId="{553F3B9E-BB4B-F999-BE2A-8DE8AC427050}"/>
          </ac:cxnSpMkLst>
        </pc:cxnChg>
        <pc:cxnChg chg="add del mod">
          <ac:chgData name="Loic Guillot" userId="0fc2d07e-ea6a-4f5d-b4bd-9b71a401db7e" providerId="ADAL" clId="{3A56FE31-FFE1-49E8-A67E-8CC944920BFD}" dt="2023-08-07T08:47:25.945" v="2038"/>
          <ac:cxnSpMkLst>
            <pc:docMk/>
            <pc:sldMk cId="4172554267" sldId="5278"/>
            <ac:cxnSpMk id="30" creationId="{E82C2099-FB1F-E5AB-75D8-690CC3B24904}"/>
          </ac:cxnSpMkLst>
        </pc:cxnChg>
      </pc:sldChg>
      <pc:sldChg chg="addSp delSp modSp new mod">
        <pc:chgData name="Loic Guillot" userId="0fc2d07e-ea6a-4f5d-b4bd-9b71a401db7e" providerId="ADAL" clId="{3A56FE31-FFE1-49E8-A67E-8CC944920BFD}" dt="2023-08-08T07:43:53.383" v="2801" actId="1076"/>
        <pc:sldMkLst>
          <pc:docMk/>
          <pc:sldMk cId="3144633687" sldId="5279"/>
        </pc:sldMkLst>
        <pc:spChg chg="del">
          <ac:chgData name="Loic Guillot" userId="0fc2d07e-ea6a-4f5d-b4bd-9b71a401db7e" providerId="ADAL" clId="{3A56FE31-FFE1-49E8-A67E-8CC944920BFD}" dt="2023-08-08T07:43:36.740" v="2757" actId="478"/>
          <ac:spMkLst>
            <pc:docMk/>
            <pc:sldMk cId="3144633687" sldId="5279"/>
            <ac:spMk id="2" creationId="{D486A6BB-1159-1EEA-2FB7-4B3199C95640}"/>
          </ac:spMkLst>
        </pc:spChg>
        <pc:spChg chg="add mod">
          <ac:chgData name="Loic Guillot" userId="0fc2d07e-ea6a-4f5d-b4bd-9b71a401db7e" providerId="ADAL" clId="{3A56FE31-FFE1-49E8-A67E-8CC944920BFD}" dt="2023-08-08T07:43:28.962" v="2756" actId="1076"/>
          <ac:spMkLst>
            <pc:docMk/>
            <pc:sldMk cId="3144633687" sldId="5279"/>
            <ac:spMk id="9" creationId="{FE4A5CD2-3B1A-F6A0-C558-1B950C8074FF}"/>
          </ac:spMkLst>
        </pc:spChg>
        <pc:spChg chg="add mod">
          <ac:chgData name="Loic Guillot" userId="0fc2d07e-ea6a-4f5d-b4bd-9b71a401db7e" providerId="ADAL" clId="{3A56FE31-FFE1-49E8-A67E-8CC944920BFD}" dt="2023-08-08T07:43:49.716" v="2800" actId="20577"/>
          <ac:spMkLst>
            <pc:docMk/>
            <pc:sldMk cId="3144633687" sldId="5279"/>
            <ac:spMk id="10" creationId="{A0BDE7C6-D390-6E01-3E56-A6E377D35C77}"/>
          </ac:spMkLst>
        </pc:spChg>
        <pc:picChg chg="add mod">
          <ac:chgData name="Loic Guillot" userId="0fc2d07e-ea6a-4f5d-b4bd-9b71a401db7e" providerId="ADAL" clId="{3A56FE31-FFE1-49E8-A67E-8CC944920BFD}" dt="2023-08-08T07:43:53.383" v="2801" actId="1076"/>
          <ac:picMkLst>
            <pc:docMk/>
            <pc:sldMk cId="3144633687" sldId="5279"/>
            <ac:picMk id="7" creationId="{817DB59D-96C9-4C29-CF85-5631CF772C9A}"/>
          </ac:picMkLst>
        </pc:picChg>
      </pc:sldChg>
      <pc:sldChg chg="addSp delSp modSp add mod ord">
        <pc:chgData name="Loic Guillot" userId="0fc2d07e-ea6a-4f5d-b4bd-9b71a401db7e" providerId="ADAL" clId="{3A56FE31-FFE1-49E8-A67E-8CC944920BFD}" dt="2023-08-08T14:02:55.452" v="4492" actId="20577"/>
        <pc:sldMkLst>
          <pc:docMk/>
          <pc:sldMk cId="735992327" sldId="5280"/>
        </pc:sldMkLst>
        <pc:spChg chg="mod">
          <ac:chgData name="Loic Guillot" userId="0fc2d07e-ea6a-4f5d-b4bd-9b71a401db7e" providerId="ADAL" clId="{3A56FE31-FFE1-49E8-A67E-8CC944920BFD}" dt="2023-08-08T08:39:05.908" v="4023" actId="1076"/>
          <ac:spMkLst>
            <pc:docMk/>
            <pc:sldMk cId="735992327" sldId="5280"/>
            <ac:spMk id="6" creationId="{3C5FBE53-3700-9F66-2044-0D67E5B7309C}"/>
          </ac:spMkLst>
        </pc:spChg>
        <pc:spChg chg="add mod">
          <ac:chgData name="Loic Guillot" userId="0fc2d07e-ea6a-4f5d-b4bd-9b71a401db7e" providerId="ADAL" clId="{3A56FE31-FFE1-49E8-A67E-8CC944920BFD}" dt="2023-08-08T07:59:59.078" v="3675" actId="33524"/>
          <ac:spMkLst>
            <pc:docMk/>
            <pc:sldMk cId="735992327" sldId="5280"/>
            <ac:spMk id="20" creationId="{F5E669D9-4610-6B39-9392-B93492539591}"/>
          </ac:spMkLst>
        </pc:spChg>
        <pc:spChg chg="mod">
          <ac:chgData name="Loic Guillot" userId="0fc2d07e-ea6a-4f5d-b4bd-9b71a401db7e" providerId="ADAL" clId="{3A56FE31-FFE1-49E8-A67E-8CC944920BFD}" dt="2023-08-08T14:02:36.984" v="4476" actId="20577"/>
          <ac:spMkLst>
            <pc:docMk/>
            <pc:sldMk cId="735992327" sldId="5280"/>
            <ac:spMk id="25" creationId="{125E2075-9107-9157-0ABB-BD731786C868}"/>
          </ac:spMkLst>
        </pc:spChg>
        <pc:spChg chg="del mod">
          <ac:chgData name="Loic Guillot" userId="0fc2d07e-ea6a-4f5d-b4bd-9b71a401db7e" providerId="ADAL" clId="{3A56FE31-FFE1-49E8-A67E-8CC944920BFD}" dt="2023-08-08T07:56:02.272" v="3361" actId="478"/>
          <ac:spMkLst>
            <pc:docMk/>
            <pc:sldMk cId="735992327" sldId="5280"/>
            <ac:spMk id="26" creationId="{A2738DE6-9C8B-E55E-77FF-F3E166B312B4}"/>
          </ac:spMkLst>
        </pc:spChg>
        <pc:spChg chg="del">
          <ac:chgData name="Loic Guillot" userId="0fc2d07e-ea6a-4f5d-b4bd-9b71a401db7e" providerId="ADAL" clId="{3A56FE31-FFE1-49E8-A67E-8CC944920BFD}" dt="2023-08-08T08:00:02.738" v="3676" actId="478"/>
          <ac:spMkLst>
            <pc:docMk/>
            <pc:sldMk cId="735992327" sldId="5280"/>
            <ac:spMk id="27" creationId="{43081122-7955-9058-8E8E-2C5C46DBA741}"/>
          </ac:spMkLst>
        </pc:spChg>
        <pc:spChg chg="mod">
          <ac:chgData name="Loic Guillot" userId="0fc2d07e-ea6a-4f5d-b4bd-9b71a401db7e" providerId="ADAL" clId="{3A56FE31-FFE1-49E8-A67E-8CC944920BFD}" dt="2023-08-08T14:02:55.452" v="4492" actId="20577"/>
          <ac:spMkLst>
            <pc:docMk/>
            <pc:sldMk cId="735992327" sldId="5280"/>
            <ac:spMk id="28" creationId="{43BA3F7A-13DE-A68F-FC90-C8137EC5421B}"/>
          </ac:spMkLst>
        </pc:spChg>
      </pc:sldChg>
      <pc:sldChg chg="new del">
        <pc:chgData name="Loic Guillot" userId="0fc2d07e-ea6a-4f5d-b4bd-9b71a401db7e" providerId="ADAL" clId="{3A56FE31-FFE1-49E8-A67E-8CC944920BFD}" dt="2023-08-08T08:23:42.311" v="3795" actId="47"/>
        <pc:sldMkLst>
          <pc:docMk/>
          <pc:sldMk cId="1014628320" sldId="5281"/>
        </pc:sldMkLst>
      </pc:sldChg>
      <pc:sldChg chg="addSp delSp modSp add mod">
        <pc:chgData name="Loic Guillot" userId="0fc2d07e-ea6a-4f5d-b4bd-9b71a401db7e" providerId="ADAL" clId="{3A56FE31-FFE1-49E8-A67E-8CC944920BFD}" dt="2023-08-08T08:38:23.608" v="4020" actId="20577"/>
        <pc:sldMkLst>
          <pc:docMk/>
          <pc:sldMk cId="1807466980" sldId="5281"/>
        </pc:sldMkLst>
        <pc:spChg chg="mod">
          <ac:chgData name="Loic Guillot" userId="0fc2d07e-ea6a-4f5d-b4bd-9b71a401db7e" providerId="ADAL" clId="{3A56FE31-FFE1-49E8-A67E-8CC944920BFD}" dt="2023-08-08T08:24:40.695" v="3817" actId="58"/>
          <ac:spMkLst>
            <pc:docMk/>
            <pc:sldMk cId="1807466980" sldId="5281"/>
            <ac:spMk id="4" creationId="{275371F6-A391-4FD7-4F84-C73218EEA71B}"/>
          </ac:spMkLst>
        </pc:spChg>
        <pc:spChg chg="mod">
          <ac:chgData name="Loic Guillot" userId="0fc2d07e-ea6a-4f5d-b4bd-9b71a401db7e" providerId="ADAL" clId="{3A56FE31-FFE1-49E8-A67E-8CC944920BFD}" dt="2023-08-08T08:38:23.608" v="4020" actId="20577"/>
          <ac:spMkLst>
            <pc:docMk/>
            <pc:sldMk cId="1807466980" sldId="5281"/>
            <ac:spMk id="5" creationId="{2131983C-CA60-E5BE-B80E-C8774489F9A1}"/>
          </ac:spMkLst>
        </pc:spChg>
        <pc:spChg chg="mod">
          <ac:chgData name="Loic Guillot" userId="0fc2d07e-ea6a-4f5d-b4bd-9b71a401db7e" providerId="ADAL" clId="{3A56FE31-FFE1-49E8-A67E-8CC944920BFD}" dt="2023-08-08T08:25:28.024" v="3824" actId="20577"/>
          <ac:spMkLst>
            <pc:docMk/>
            <pc:sldMk cId="1807466980" sldId="5281"/>
            <ac:spMk id="8" creationId="{32B1E671-CAE4-F155-EEA6-82D9053BA16E}"/>
          </ac:spMkLst>
        </pc:spChg>
        <pc:picChg chg="add del mod">
          <ac:chgData name="Loic Guillot" userId="0fc2d07e-ea6a-4f5d-b4bd-9b71a401db7e" providerId="ADAL" clId="{3A56FE31-FFE1-49E8-A67E-8CC944920BFD}" dt="2023-08-08T08:25:38.008" v="3825" actId="478"/>
          <ac:picMkLst>
            <pc:docMk/>
            <pc:sldMk cId="1807466980" sldId="5281"/>
            <ac:picMk id="7" creationId="{8616B232-6042-1342-E4C6-467F27714399}"/>
          </ac:picMkLst>
        </pc:picChg>
      </pc:sldChg>
      <pc:sldChg chg="addSp delSp modSp add mod">
        <pc:chgData name="Loic Guillot" userId="0fc2d07e-ea6a-4f5d-b4bd-9b71a401db7e" providerId="ADAL" clId="{3A56FE31-FFE1-49E8-A67E-8CC944920BFD}" dt="2023-08-08T08:33:39.569" v="3985" actId="14100"/>
        <pc:sldMkLst>
          <pc:docMk/>
          <pc:sldMk cId="665937505" sldId="5282"/>
        </pc:sldMkLst>
        <pc:spChg chg="del">
          <ac:chgData name="Loic Guillot" userId="0fc2d07e-ea6a-4f5d-b4bd-9b71a401db7e" providerId="ADAL" clId="{3A56FE31-FFE1-49E8-A67E-8CC944920BFD}" dt="2023-08-08T08:28:23.929" v="3869" actId="478"/>
          <ac:spMkLst>
            <pc:docMk/>
            <pc:sldMk cId="665937505" sldId="5282"/>
            <ac:spMk id="2" creationId="{9A4B84F9-CAC2-D703-1247-581B4F7FA770}"/>
          </ac:spMkLst>
        </pc:spChg>
        <pc:spChg chg="add mod">
          <ac:chgData name="Loic Guillot" userId="0fc2d07e-ea6a-4f5d-b4bd-9b71a401db7e" providerId="ADAL" clId="{3A56FE31-FFE1-49E8-A67E-8CC944920BFD}" dt="2023-08-08T08:28:51.166" v="3887" actId="1076"/>
          <ac:spMkLst>
            <pc:docMk/>
            <pc:sldMk cId="665937505" sldId="5282"/>
            <ac:spMk id="7" creationId="{AE0524AF-8D94-5220-A1A8-731344CB7BD9}"/>
          </ac:spMkLst>
        </pc:spChg>
        <pc:spChg chg="add mod">
          <ac:chgData name="Loic Guillot" userId="0fc2d07e-ea6a-4f5d-b4bd-9b71a401db7e" providerId="ADAL" clId="{3A56FE31-FFE1-49E8-A67E-8CC944920BFD}" dt="2023-08-08T08:31:32.189" v="3946" actId="1076"/>
          <ac:spMkLst>
            <pc:docMk/>
            <pc:sldMk cId="665937505" sldId="5282"/>
            <ac:spMk id="8" creationId="{1F29961F-0860-AB46-4D39-752335DEE1F2}"/>
          </ac:spMkLst>
        </pc:spChg>
        <pc:spChg chg="add mod">
          <ac:chgData name="Loic Guillot" userId="0fc2d07e-ea6a-4f5d-b4bd-9b71a401db7e" providerId="ADAL" clId="{3A56FE31-FFE1-49E8-A67E-8CC944920BFD}" dt="2023-08-08T08:31:45.913" v="3953" actId="1076"/>
          <ac:spMkLst>
            <pc:docMk/>
            <pc:sldMk cId="665937505" sldId="5282"/>
            <ac:spMk id="11" creationId="{5D2D8935-2998-4B86-9B41-39E587088306}"/>
          </ac:spMkLst>
        </pc:spChg>
        <pc:spChg chg="add mod">
          <ac:chgData name="Loic Guillot" userId="0fc2d07e-ea6a-4f5d-b4bd-9b71a401db7e" providerId="ADAL" clId="{3A56FE31-FFE1-49E8-A67E-8CC944920BFD}" dt="2023-08-08T08:32:26.353" v="3962" actId="20577"/>
          <ac:spMkLst>
            <pc:docMk/>
            <pc:sldMk cId="665937505" sldId="5282"/>
            <ac:spMk id="12" creationId="{18FBA012-F67A-670B-FBC1-21225132A888}"/>
          </ac:spMkLst>
        </pc:spChg>
        <pc:spChg chg="del">
          <ac:chgData name="Loic Guillot" userId="0fc2d07e-ea6a-4f5d-b4bd-9b71a401db7e" providerId="ADAL" clId="{3A56FE31-FFE1-49E8-A67E-8CC944920BFD}" dt="2023-08-08T08:26:37.809" v="3829" actId="478"/>
          <ac:spMkLst>
            <pc:docMk/>
            <pc:sldMk cId="665937505" sldId="5282"/>
            <ac:spMk id="13" creationId="{6203914D-16DF-2AAE-8C26-28C6218B4723}"/>
          </ac:spMkLst>
        </pc:spChg>
        <pc:spChg chg="mod">
          <ac:chgData name="Loic Guillot" userId="0fc2d07e-ea6a-4f5d-b4bd-9b71a401db7e" providerId="ADAL" clId="{3A56FE31-FFE1-49E8-A67E-8CC944920BFD}" dt="2023-08-08T08:26:55.740" v="3842" actId="20577"/>
          <ac:spMkLst>
            <pc:docMk/>
            <pc:sldMk cId="665937505" sldId="5282"/>
            <ac:spMk id="14" creationId="{B1B726DA-683B-94E9-4DA1-0AD3411647EF}"/>
          </ac:spMkLst>
        </pc:spChg>
        <pc:spChg chg="mod">
          <ac:chgData name="Loic Guillot" userId="0fc2d07e-ea6a-4f5d-b4bd-9b71a401db7e" providerId="ADAL" clId="{3A56FE31-FFE1-49E8-A67E-8CC944920BFD}" dt="2023-08-08T08:28:54.405" v="3888" actId="1076"/>
          <ac:spMkLst>
            <pc:docMk/>
            <pc:sldMk cId="665937505" sldId="5282"/>
            <ac:spMk id="15" creationId="{034E014C-F9FD-CB2F-D5E3-C0A5B02372DF}"/>
          </ac:spMkLst>
        </pc:spChg>
        <pc:spChg chg="mod">
          <ac:chgData name="Loic Guillot" userId="0fc2d07e-ea6a-4f5d-b4bd-9b71a401db7e" providerId="ADAL" clId="{3A56FE31-FFE1-49E8-A67E-8CC944920BFD}" dt="2023-08-08T08:30:08.855" v="3918" actId="1076"/>
          <ac:spMkLst>
            <pc:docMk/>
            <pc:sldMk cId="665937505" sldId="5282"/>
            <ac:spMk id="18" creationId="{10125F7C-E210-69F2-765D-AF92B4FE2E7E}"/>
          </ac:spMkLst>
        </pc:spChg>
        <pc:spChg chg="mod">
          <ac:chgData name="Loic Guillot" userId="0fc2d07e-ea6a-4f5d-b4bd-9b71a401db7e" providerId="ADAL" clId="{3A56FE31-FFE1-49E8-A67E-8CC944920BFD}" dt="2023-08-08T08:30:12.481" v="3919" actId="1076"/>
          <ac:spMkLst>
            <pc:docMk/>
            <pc:sldMk cId="665937505" sldId="5282"/>
            <ac:spMk id="21" creationId="{80C4EF11-0981-88AD-2A42-37B165073279}"/>
          </ac:spMkLst>
        </pc:spChg>
        <pc:spChg chg="mod">
          <ac:chgData name="Loic Guillot" userId="0fc2d07e-ea6a-4f5d-b4bd-9b71a401db7e" providerId="ADAL" clId="{3A56FE31-FFE1-49E8-A67E-8CC944920BFD}" dt="2023-08-08T08:31:22.058" v="3944" actId="1076"/>
          <ac:spMkLst>
            <pc:docMk/>
            <pc:sldMk cId="665937505" sldId="5282"/>
            <ac:spMk id="22" creationId="{7C49F747-5497-8609-1DFA-06F936A2B082}"/>
          </ac:spMkLst>
        </pc:spChg>
        <pc:spChg chg="del">
          <ac:chgData name="Loic Guillot" userId="0fc2d07e-ea6a-4f5d-b4bd-9b71a401db7e" providerId="ADAL" clId="{3A56FE31-FFE1-49E8-A67E-8CC944920BFD}" dt="2023-08-08T08:26:31.458" v="3827" actId="478"/>
          <ac:spMkLst>
            <pc:docMk/>
            <pc:sldMk cId="665937505" sldId="5282"/>
            <ac:spMk id="24" creationId="{C81FD908-6A4B-3355-7897-B0C8D5D06E48}"/>
          </ac:spMkLst>
        </pc:spChg>
        <pc:spChg chg="del">
          <ac:chgData name="Loic Guillot" userId="0fc2d07e-ea6a-4f5d-b4bd-9b71a401db7e" providerId="ADAL" clId="{3A56FE31-FFE1-49E8-A67E-8CC944920BFD}" dt="2023-08-08T08:26:32.279" v="3828" actId="478"/>
          <ac:spMkLst>
            <pc:docMk/>
            <pc:sldMk cId="665937505" sldId="5282"/>
            <ac:spMk id="26" creationId="{A5EDF71A-8D9A-F6A1-0C3F-EE2408EC99BE}"/>
          </ac:spMkLst>
        </pc:spChg>
        <pc:spChg chg="mod">
          <ac:chgData name="Loic Guillot" userId="0fc2d07e-ea6a-4f5d-b4bd-9b71a401db7e" providerId="ADAL" clId="{3A56FE31-FFE1-49E8-A67E-8CC944920BFD}" dt="2023-08-08T08:31:23.875" v="3945" actId="1076"/>
          <ac:spMkLst>
            <pc:docMk/>
            <pc:sldMk cId="665937505" sldId="5282"/>
            <ac:spMk id="28" creationId="{C9904CC6-1579-5546-B67D-5C05CD25EBFA}"/>
          </ac:spMkLst>
        </pc:spChg>
        <pc:spChg chg="del">
          <ac:chgData name="Loic Guillot" userId="0fc2d07e-ea6a-4f5d-b4bd-9b71a401db7e" providerId="ADAL" clId="{3A56FE31-FFE1-49E8-A67E-8CC944920BFD}" dt="2023-08-08T08:28:25.368" v="3870" actId="478"/>
          <ac:spMkLst>
            <pc:docMk/>
            <pc:sldMk cId="665937505" sldId="5282"/>
            <ac:spMk id="42" creationId="{15F8240F-3DBA-9635-4F77-0D715E60646E}"/>
          </ac:spMkLst>
        </pc:spChg>
        <pc:spChg chg="add mod">
          <ac:chgData name="Loic Guillot" userId="0fc2d07e-ea6a-4f5d-b4bd-9b71a401db7e" providerId="ADAL" clId="{3A56FE31-FFE1-49E8-A67E-8CC944920BFD}" dt="2023-08-08T08:33:30.405" v="3981" actId="1076"/>
          <ac:spMkLst>
            <pc:docMk/>
            <pc:sldMk cId="665937505" sldId="5282"/>
            <ac:spMk id="49" creationId="{30CD2847-7E7F-9CC4-62BE-C4F924227B4E}"/>
          </ac:spMkLst>
        </pc:spChg>
        <pc:spChg chg="add mod">
          <ac:chgData name="Loic Guillot" userId="0fc2d07e-ea6a-4f5d-b4bd-9b71a401db7e" providerId="ADAL" clId="{3A56FE31-FFE1-49E8-A67E-8CC944920BFD}" dt="2023-08-08T08:33:39.569" v="3985" actId="14100"/>
          <ac:spMkLst>
            <pc:docMk/>
            <pc:sldMk cId="665937505" sldId="5282"/>
            <ac:spMk id="50" creationId="{F68EF37C-EF40-6AA8-0577-BCC78471456D}"/>
          </ac:spMkLst>
        </pc:spChg>
        <pc:cxnChg chg="mod">
          <ac:chgData name="Loic Guillot" userId="0fc2d07e-ea6a-4f5d-b4bd-9b71a401db7e" providerId="ADAL" clId="{3A56FE31-FFE1-49E8-A67E-8CC944920BFD}" dt="2023-08-08T08:31:22.058" v="3944" actId="1076"/>
          <ac:cxnSpMkLst>
            <pc:docMk/>
            <pc:sldMk cId="665937505" sldId="5282"/>
            <ac:cxnSpMk id="10" creationId="{30267064-1467-2381-81FE-52C047E49914}"/>
          </ac:cxnSpMkLst>
        </pc:cxnChg>
        <pc:cxnChg chg="mod">
          <ac:chgData name="Loic Guillot" userId="0fc2d07e-ea6a-4f5d-b4bd-9b71a401db7e" providerId="ADAL" clId="{3A56FE31-FFE1-49E8-A67E-8CC944920BFD}" dt="2023-08-08T08:31:22.058" v="3944" actId="1076"/>
          <ac:cxnSpMkLst>
            <pc:docMk/>
            <pc:sldMk cId="665937505" sldId="5282"/>
            <ac:cxnSpMk id="19" creationId="{42648BDB-21EF-20DE-FB21-65DE663BD0C1}"/>
          </ac:cxnSpMkLst>
        </pc:cxnChg>
        <pc:cxnChg chg="add mod">
          <ac:chgData name="Loic Guillot" userId="0fc2d07e-ea6a-4f5d-b4bd-9b71a401db7e" providerId="ADAL" clId="{3A56FE31-FFE1-49E8-A67E-8CC944920BFD}" dt="2023-08-08T08:31:38.291" v="3949" actId="14100"/>
          <ac:cxnSpMkLst>
            <pc:docMk/>
            <pc:sldMk cId="665937505" sldId="5282"/>
            <ac:cxnSpMk id="34" creationId="{0493893A-BE7B-FC16-8B7D-6793260E5D91}"/>
          </ac:cxnSpMkLst>
        </pc:cxnChg>
        <pc:cxnChg chg="del mod">
          <ac:chgData name="Loic Guillot" userId="0fc2d07e-ea6a-4f5d-b4bd-9b71a401db7e" providerId="ADAL" clId="{3A56FE31-FFE1-49E8-A67E-8CC944920BFD}" dt="2023-08-08T08:26:46.099" v="3832" actId="478"/>
          <ac:cxnSpMkLst>
            <pc:docMk/>
            <pc:sldMk cId="665937505" sldId="5282"/>
            <ac:cxnSpMk id="36" creationId="{1337E40C-982D-0049-DAAD-0C09993B8DCE}"/>
          </ac:cxnSpMkLst>
        </pc:cxnChg>
        <pc:cxnChg chg="add mod">
          <ac:chgData name="Loic Guillot" userId="0fc2d07e-ea6a-4f5d-b4bd-9b71a401db7e" providerId="ADAL" clId="{3A56FE31-FFE1-49E8-A67E-8CC944920BFD}" dt="2023-08-08T08:31:45.913" v="3953" actId="1076"/>
          <ac:cxnSpMkLst>
            <pc:docMk/>
            <pc:sldMk cId="665937505" sldId="5282"/>
            <ac:cxnSpMk id="38" creationId="{EF818F04-FF09-8367-6B84-AC1FAB04F4C7}"/>
          </ac:cxnSpMkLst>
        </pc:cxnChg>
        <pc:cxnChg chg="mod">
          <ac:chgData name="Loic Guillot" userId="0fc2d07e-ea6a-4f5d-b4bd-9b71a401db7e" providerId="ADAL" clId="{3A56FE31-FFE1-49E8-A67E-8CC944920BFD}" dt="2023-08-08T08:30:08.855" v="3918" actId="1076"/>
          <ac:cxnSpMkLst>
            <pc:docMk/>
            <pc:sldMk cId="665937505" sldId="5282"/>
            <ac:cxnSpMk id="39" creationId="{9F30673A-B014-061D-9CCD-E1C427BEE614}"/>
          </ac:cxnSpMkLst>
        </pc:cxnChg>
        <pc:cxnChg chg="add mod">
          <ac:chgData name="Loic Guillot" userId="0fc2d07e-ea6a-4f5d-b4bd-9b71a401db7e" providerId="ADAL" clId="{3A56FE31-FFE1-49E8-A67E-8CC944920BFD}" dt="2023-08-08T08:33:33.461" v="3982" actId="14100"/>
          <ac:cxnSpMkLst>
            <pc:docMk/>
            <pc:sldMk cId="665937505" sldId="5282"/>
            <ac:cxnSpMk id="46" creationId="{CBF05AFC-8806-A364-9132-8507D435694D}"/>
          </ac:cxnSpMkLst>
        </pc:cxnChg>
      </pc:sldChg>
      <pc:sldChg chg="delSp modSp add mod">
        <pc:chgData name="Loic Guillot" userId="0fc2d07e-ea6a-4f5d-b4bd-9b71a401db7e" providerId="ADAL" clId="{3A56FE31-FFE1-49E8-A67E-8CC944920BFD}" dt="2023-08-08T08:35:24.689" v="4000" actId="20577"/>
        <pc:sldMkLst>
          <pc:docMk/>
          <pc:sldMk cId="1836647278" sldId="5283"/>
        </pc:sldMkLst>
        <pc:spChg chg="del">
          <ac:chgData name="Loic Guillot" userId="0fc2d07e-ea6a-4f5d-b4bd-9b71a401db7e" providerId="ADAL" clId="{3A56FE31-FFE1-49E8-A67E-8CC944920BFD}" dt="2023-08-08T08:34:14.336" v="3989" actId="478"/>
          <ac:spMkLst>
            <pc:docMk/>
            <pc:sldMk cId="1836647278" sldId="5283"/>
            <ac:spMk id="5" creationId="{CF80D388-0A09-7C7C-791B-7E5A07313E70}"/>
          </ac:spMkLst>
        </pc:spChg>
        <pc:spChg chg="del">
          <ac:chgData name="Loic Guillot" userId="0fc2d07e-ea6a-4f5d-b4bd-9b71a401db7e" providerId="ADAL" clId="{3A56FE31-FFE1-49E8-A67E-8CC944920BFD}" dt="2023-08-08T08:34:15.231" v="3990" actId="478"/>
          <ac:spMkLst>
            <pc:docMk/>
            <pc:sldMk cId="1836647278" sldId="5283"/>
            <ac:spMk id="7" creationId="{FB68011C-5945-7EF1-6928-03F949DE7D82}"/>
          </ac:spMkLst>
        </pc:spChg>
        <pc:spChg chg="mod">
          <ac:chgData name="Loic Guillot" userId="0fc2d07e-ea6a-4f5d-b4bd-9b71a401db7e" providerId="ADAL" clId="{3A56FE31-FFE1-49E8-A67E-8CC944920BFD}" dt="2023-08-08T08:35:06.757" v="3998"/>
          <ac:spMkLst>
            <pc:docMk/>
            <pc:sldMk cId="1836647278" sldId="5283"/>
            <ac:spMk id="19" creationId="{43D4A03C-4511-295B-84F0-B05A5E06DD89}"/>
          </ac:spMkLst>
        </pc:spChg>
        <pc:spChg chg="mod">
          <ac:chgData name="Loic Guillot" userId="0fc2d07e-ea6a-4f5d-b4bd-9b71a401db7e" providerId="ADAL" clId="{3A56FE31-FFE1-49E8-A67E-8CC944920BFD}" dt="2023-08-08T08:34:27.362" v="3995"/>
          <ac:spMkLst>
            <pc:docMk/>
            <pc:sldMk cId="1836647278" sldId="5283"/>
            <ac:spMk id="21" creationId="{81FFF671-4653-A83B-B828-BC3501613F7C}"/>
          </ac:spMkLst>
        </pc:spChg>
        <pc:spChg chg="mod">
          <ac:chgData name="Loic Guillot" userId="0fc2d07e-ea6a-4f5d-b4bd-9b71a401db7e" providerId="ADAL" clId="{3A56FE31-FFE1-49E8-A67E-8CC944920BFD}" dt="2023-08-08T08:35:24.689" v="4000" actId="20577"/>
          <ac:spMkLst>
            <pc:docMk/>
            <pc:sldMk cId="1836647278" sldId="5283"/>
            <ac:spMk id="25" creationId="{32F4FADD-1390-6DD1-D6FB-4CFDE37A92DA}"/>
          </ac:spMkLst>
        </pc:spChg>
        <pc:cxnChg chg="del mod">
          <ac:chgData name="Loic Guillot" userId="0fc2d07e-ea6a-4f5d-b4bd-9b71a401db7e" providerId="ADAL" clId="{3A56FE31-FFE1-49E8-A67E-8CC944920BFD}" dt="2023-08-08T08:34:16.402" v="3992" actId="478"/>
          <ac:cxnSpMkLst>
            <pc:docMk/>
            <pc:sldMk cId="1836647278" sldId="5283"/>
            <ac:cxnSpMk id="54" creationId="{CB16A940-12BF-322A-7319-03FBD432A23A}"/>
          </ac:cxnSpMkLst>
        </pc:cxnChg>
        <pc:cxnChg chg="del mod">
          <ac:chgData name="Loic Guillot" userId="0fc2d07e-ea6a-4f5d-b4bd-9b71a401db7e" providerId="ADAL" clId="{3A56FE31-FFE1-49E8-A67E-8CC944920BFD}" dt="2023-08-08T08:34:15.875" v="3991" actId="478"/>
          <ac:cxnSpMkLst>
            <pc:docMk/>
            <pc:sldMk cId="1836647278" sldId="5283"/>
            <ac:cxnSpMk id="57" creationId="{B7FA4574-2971-F085-B223-3952E366F6F4}"/>
          </ac:cxnSpMkLst>
        </pc:cxnChg>
      </pc:sldChg>
      <pc:sldChg chg="addSp delSp modSp new mod">
        <pc:chgData name="Loic Guillot" userId="0fc2d07e-ea6a-4f5d-b4bd-9b71a401db7e" providerId="ADAL" clId="{3A56FE31-FFE1-49E8-A67E-8CC944920BFD}" dt="2023-08-08T08:47:11.965" v="4233" actId="1076"/>
        <pc:sldMkLst>
          <pc:docMk/>
          <pc:sldMk cId="3307486524" sldId="5284"/>
        </pc:sldMkLst>
        <pc:spChg chg="del">
          <ac:chgData name="Loic Guillot" userId="0fc2d07e-ea6a-4f5d-b4bd-9b71a401db7e" providerId="ADAL" clId="{3A56FE31-FFE1-49E8-A67E-8CC944920BFD}" dt="2023-08-08T08:39:10.533" v="4024" actId="478"/>
          <ac:spMkLst>
            <pc:docMk/>
            <pc:sldMk cId="3307486524" sldId="5284"/>
            <ac:spMk id="2" creationId="{B178A141-7CAE-BD30-63E1-54CC473C072F}"/>
          </ac:spMkLst>
        </pc:spChg>
        <pc:spChg chg="add mod">
          <ac:chgData name="Loic Guillot" userId="0fc2d07e-ea6a-4f5d-b4bd-9b71a401db7e" providerId="ADAL" clId="{3A56FE31-FFE1-49E8-A67E-8CC944920BFD}" dt="2023-08-08T08:47:11.965" v="4233" actId="1076"/>
          <ac:spMkLst>
            <pc:docMk/>
            <pc:sldMk cId="3307486524" sldId="5284"/>
            <ac:spMk id="6" creationId="{1EA5D8D7-37A2-D0F7-DF3B-46893E209361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8" creationId="{D1368B25-E1A9-6F04-351B-EFDAF86DD1BF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9" creationId="{15BBF846-6C56-D547-919D-A639CEC4548A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10" creationId="{D1459270-1CAA-C08F-DB4B-99CA94CCBB3C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11" creationId="{0DF7E608-F92B-672F-60F3-3E52EB2BAF25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14" creationId="{CCDB3759-261C-C394-ECE1-2A2A8E75C042}"/>
          </ac:spMkLst>
        </pc:spChg>
        <pc:spChg chg="add mod">
          <ac:chgData name="Loic Guillot" userId="0fc2d07e-ea6a-4f5d-b4bd-9b71a401db7e" providerId="ADAL" clId="{3A56FE31-FFE1-49E8-A67E-8CC944920BFD}" dt="2023-08-08T08:45:03.988" v="4169" actId="1035"/>
          <ac:spMkLst>
            <pc:docMk/>
            <pc:sldMk cId="3307486524" sldId="5284"/>
            <ac:spMk id="15" creationId="{F56734F6-74DF-E161-A568-6BE3A7B472DA}"/>
          </ac:spMkLst>
        </pc:spChg>
        <pc:spChg chg="add mod">
          <ac:chgData name="Loic Guillot" userId="0fc2d07e-ea6a-4f5d-b4bd-9b71a401db7e" providerId="ADAL" clId="{3A56FE31-FFE1-49E8-A67E-8CC944920BFD}" dt="2023-08-08T08:46:56.360" v="4228" actId="1076"/>
          <ac:spMkLst>
            <pc:docMk/>
            <pc:sldMk cId="3307486524" sldId="5284"/>
            <ac:spMk id="17" creationId="{6090E98E-89B5-A3D2-6310-B67CE9FFDF2F}"/>
          </ac:spMkLst>
        </pc:spChg>
        <pc:graphicFrameChg chg="add mod">
          <ac:chgData name="Loic Guillot" userId="0fc2d07e-ea6a-4f5d-b4bd-9b71a401db7e" providerId="ADAL" clId="{3A56FE31-FFE1-49E8-A67E-8CC944920BFD}" dt="2023-08-08T08:45:38.790" v="4174" actId="1076"/>
          <ac:graphicFrameMkLst>
            <pc:docMk/>
            <pc:sldMk cId="3307486524" sldId="5284"/>
            <ac:graphicFrameMk id="7" creationId="{00000000-0008-0000-0200-000006000000}"/>
          </ac:graphicFrameMkLst>
        </pc:graphicFrameChg>
        <pc:graphicFrameChg chg="add mod">
          <ac:chgData name="Loic Guillot" userId="0fc2d07e-ea6a-4f5d-b4bd-9b71a401db7e" providerId="ADAL" clId="{3A56FE31-FFE1-49E8-A67E-8CC944920BFD}" dt="2023-08-08T08:47:09.130" v="4232" actId="1076"/>
          <ac:graphicFrameMkLst>
            <pc:docMk/>
            <pc:sldMk cId="3307486524" sldId="5284"/>
            <ac:graphicFrameMk id="16" creationId="{00000000-0008-0000-0200-000005000000}"/>
          </ac:graphicFrameMkLst>
        </pc:graphicFrameChg>
        <pc:picChg chg="add mod">
          <ac:chgData name="Loic Guillot" userId="0fc2d07e-ea6a-4f5d-b4bd-9b71a401db7e" providerId="ADAL" clId="{3A56FE31-FFE1-49E8-A67E-8CC944920BFD}" dt="2023-08-08T08:45:03.988" v="4169" actId="1035"/>
          <ac:picMkLst>
            <pc:docMk/>
            <pc:sldMk cId="3307486524" sldId="5284"/>
            <ac:picMk id="12" creationId="{DA20DEC2-6244-211F-505E-CA22C0E22567}"/>
          </ac:picMkLst>
        </pc:picChg>
        <pc:picChg chg="add mod">
          <ac:chgData name="Loic Guillot" userId="0fc2d07e-ea6a-4f5d-b4bd-9b71a401db7e" providerId="ADAL" clId="{3A56FE31-FFE1-49E8-A67E-8CC944920BFD}" dt="2023-08-08T08:45:03.988" v="4169" actId="1035"/>
          <ac:picMkLst>
            <pc:docMk/>
            <pc:sldMk cId="3307486524" sldId="5284"/>
            <ac:picMk id="13" creationId="{8D430443-F6EE-9B1C-3B3D-D6EB9B1AE805}"/>
          </ac:picMkLst>
        </pc:picChg>
      </pc:sldChg>
      <pc:sldChg chg="addSp modSp new del mod">
        <pc:chgData name="Loic Guillot" userId="0fc2d07e-ea6a-4f5d-b4bd-9b71a401db7e" providerId="ADAL" clId="{3A56FE31-FFE1-49E8-A67E-8CC944920BFD}" dt="2023-08-08T10:40:19.412" v="4421" actId="47"/>
        <pc:sldMkLst>
          <pc:docMk/>
          <pc:sldMk cId="84286307" sldId="5285"/>
        </pc:sldMkLst>
        <pc:spChg chg="add mod">
          <ac:chgData name="Loic Guillot" userId="0fc2d07e-ea6a-4f5d-b4bd-9b71a401db7e" providerId="ADAL" clId="{3A56FE31-FFE1-49E8-A67E-8CC944920BFD}" dt="2023-08-08T09:44:07.345" v="4420" actId="108"/>
          <ac:spMkLst>
            <pc:docMk/>
            <pc:sldMk cId="84286307" sldId="5285"/>
            <ac:spMk id="6" creationId="{C1CD2BAB-C46D-3568-EB14-28AE1D437FC9}"/>
          </ac:spMkLst>
        </pc:spChg>
        <pc:picChg chg="add mod">
          <ac:chgData name="Loic Guillot" userId="0fc2d07e-ea6a-4f5d-b4bd-9b71a401db7e" providerId="ADAL" clId="{3A56FE31-FFE1-49E8-A67E-8CC944920BFD}" dt="2023-08-08T09:40:23.009" v="4318" actId="1076"/>
          <ac:picMkLst>
            <pc:docMk/>
            <pc:sldMk cId="84286307" sldId="5285"/>
            <ac:picMk id="8" creationId="{A2FCF042-A204-190D-D447-C12E70AB9723}"/>
          </ac:picMkLst>
        </pc:picChg>
      </pc:sldChg>
      <pc:sldChg chg="addSp delSp modSp add mod">
        <pc:chgData name="Loic Guillot" userId="0fc2d07e-ea6a-4f5d-b4bd-9b71a401db7e" providerId="ADAL" clId="{3A56FE31-FFE1-49E8-A67E-8CC944920BFD}" dt="2023-08-08T14:04:30.372" v="4523" actId="207"/>
        <pc:sldMkLst>
          <pc:docMk/>
          <pc:sldMk cId="3875974651" sldId="5285"/>
        </pc:sldMkLst>
        <pc:spChg chg="del">
          <ac:chgData name="Loic Guillot" userId="0fc2d07e-ea6a-4f5d-b4bd-9b71a401db7e" providerId="ADAL" clId="{3A56FE31-FFE1-49E8-A67E-8CC944920BFD}" dt="2023-08-08T14:03:25.854" v="4498" actId="478"/>
          <ac:spMkLst>
            <pc:docMk/>
            <pc:sldMk cId="3875974651" sldId="5285"/>
            <ac:spMk id="4" creationId="{275371F6-A391-4FD7-4F84-C73218EEA71B}"/>
          </ac:spMkLst>
        </pc:spChg>
        <pc:spChg chg="del">
          <ac:chgData name="Loic Guillot" userId="0fc2d07e-ea6a-4f5d-b4bd-9b71a401db7e" providerId="ADAL" clId="{3A56FE31-FFE1-49E8-A67E-8CC944920BFD}" dt="2023-08-08T14:03:27.273" v="4499" actId="478"/>
          <ac:spMkLst>
            <pc:docMk/>
            <pc:sldMk cId="3875974651" sldId="5285"/>
            <ac:spMk id="5" creationId="{2131983C-CA60-E5BE-B80E-C8774489F9A1}"/>
          </ac:spMkLst>
        </pc:spChg>
        <pc:spChg chg="mod">
          <ac:chgData name="Loic Guillot" userId="0fc2d07e-ea6a-4f5d-b4bd-9b71a401db7e" providerId="ADAL" clId="{3A56FE31-FFE1-49E8-A67E-8CC944920BFD}" dt="2023-08-08T14:03:37.796" v="4514" actId="20577"/>
          <ac:spMkLst>
            <pc:docMk/>
            <pc:sldMk cId="3875974651" sldId="5285"/>
            <ac:spMk id="6" creationId="{639E1ACF-92AF-FCE8-DEF2-B07BC9D504E5}"/>
          </ac:spMkLst>
        </pc:spChg>
        <pc:spChg chg="add mod">
          <ac:chgData name="Loic Guillot" userId="0fc2d07e-ea6a-4f5d-b4bd-9b71a401db7e" providerId="ADAL" clId="{3A56FE31-FFE1-49E8-A67E-8CC944920BFD}" dt="2023-08-08T14:04:30.372" v="4523" actId="207"/>
          <ac:spMkLst>
            <pc:docMk/>
            <pc:sldMk cId="3875974651" sldId="5285"/>
            <ac:spMk id="7" creationId="{67EDE5A7-174B-B63B-6554-9383083BA147}"/>
          </ac:spMkLst>
        </pc:spChg>
        <pc:spChg chg="del mod">
          <ac:chgData name="Loic Guillot" userId="0fc2d07e-ea6a-4f5d-b4bd-9b71a401db7e" providerId="ADAL" clId="{3A56FE31-FFE1-49E8-A67E-8CC944920BFD}" dt="2023-08-08T14:03:24.467" v="4497" actId="478"/>
          <ac:spMkLst>
            <pc:docMk/>
            <pc:sldMk cId="3875974651" sldId="5285"/>
            <ac:spMk id="8" creationId="{32B1E671-CAE4-F155-EEA6-82D9053BA16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nervivo.sharepoint.com/Documents%20partages/14-R&amp;D/Mod&#233;lisation%20de%20cycles%20de%20cultures/Stage%20Lo&#239;c/Automatisation%20bilan%20hydrique%20futur.xlsm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enervivo.sharepoint.com/Documents%20partages/14-R&amp;D/Mod&#233;lisation%20de%20cycles%20de%20cultures/Stage%20Lo&#239;c/Automatisation%20bilan%20hydrique%20futur.xlsm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enervivo.sharepoint.com/Documents%20partages/14-R&amp;D/Mod&#233;lisation%20de%20cycles%20de%20cultures/Stage%20Lo&#239;c/Automatisation%20bilan%20hydrique%20futur.xlsm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enervivo.sharepoint.com/Documents%20partages/14-R&amp;D/Mod&#233;lisation%20de%20cycles%20de%20cultures/Stage%20Lo&#239;c/Automatisation%20bilan%20hydrique%20futur.xlsm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modification température sur 2 jours</a:t>
            </a:r>
          </a:p>
        </c:rich>
      </c:tx>
      <c:layout>
        <c:manualLayout>
          <c:xMode val="edge"/>
          <c:yMode val="edge"/>
          <c:x val="0.20110411198600175"/>
          <c:y val="3.24074074074074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Automatisation bilan hydrique futur.xlsm]ETR_P'!$D$1</c:f>
              <c:strCache>
                <c:ptCount val="1"/>
                <c:pt idx="0">
                  <c:v>modification températu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ETR_P'!$B$2:$B$49</c:f>
              <c:numCache>
                <c:formatCode>h:mm</c:formatCode>
                <c:ptCount val="4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0</c:v>
                </c:pt>
                <c:pt idx="25">
                  <c:v>4.1666666666666664E-2</c:v>
                </c:pt>
                <c:pt idx="26">
                  <c:v>8.3333333333333329E-2</c:v>
                </c:pt>
                <c:pt idx="27">
                  <c:v>0.125</c:v>
                </c:pt>
                <c:pt idx="28">
                  <c:v>0.16666666666666666</c:v>
                </c:pt>
                <c:pt idx="29">
                  <c:v>0.20833333333333334</c:v>
                </c:pt>
                <c:pt idx="30">
                  <c:v>0.25</c:v>
                </c:pt>
                <c:pt idx="31">
                  <c:v>0.29166666666666669</c:v>
                </c:pt>
                <c:pt idx="32">
                  <c:v>0.33333333333333331</c:v>
                </c:pt>
                <c:pt idx="33">
                  <c:v>0.375</c:v>
                </c:pt>
                <c:pt idx="34">
                  <c:v>0.41666666666666669</c:v>
                </c:pt>
                <c:pt idx="35">
                  <c:v>0.45833333333333331</c:v>
                </c:pt>
                <c:pt idx="36">
                  <c:v>0.5</c:v>
                </c:pt>
                <c:pt idx="37">
                  <c:v>0.54166666666666663</c:v>
                </c:pt>
                <c:pt idx="38">
                  <c:v>0.58333333333333337</c:v>
                </c:pt>
                <c:pt idx="39">
                  <c:v>0.625</c:v>
                </c:pt>
                <c:pt idx="40">
                  <c:v>0.66666666666666663</c:v>
                </c:pt>
                <c:pt idx="41">
                  <c:v>0.70833333333333337</c:v>
                </c:pt>
                <c:pt idx="42">
                  <c:v>0.75</c:v>
                </c:pt>
                <c:pt idx="43">
                  <c:v>0.79166666666666663</c:v>
                </c:pt>
                <c:pt idx="44">
                  <c:v>0.83333333333333337</c:v>
                </c:pt>
                <c:pt idx="45">
                  <c:v>0.875</c:v>
                </c:pt>
                <c:pt idx="46">
                  <c:v>0.91666666666666663</c:v>
                </c:pt>
                <c:pt idx="47">
                  <c:v>0.95833333333333337</c:v>
                </c:pt>
              </c:numCache>
            </c:numRef>
          </c:cat>
          <c:val>
            <c:numRef>
              <c:f>'[Automatisation bilan hydrique futur.xlsm]ETR_P'!$D$2:$D$49</c:f>
              <c:numCache>
                <c:formatCode>General</c:formatCode>
                <c:ptCount val="48"/>
                <c:pt idx="0">
                  <c:v>0.2857142857142857</c:v>
                </c:pt>
                <c:pt idx="1">
                  <c:v>0.4285714285714286</c:v>
                </c:pt>
                <c:pt idx="2">
                  <c:v>0.5714285714285714</c:v>
                </c:pt>
                <c:pt idx="3">
                  <c:v>0.7142857142857143</c:v>
                </c:pt>
                <c:pt idx="4">
                  <c:v>0.85714285714285721</c:v>
                </c:pt>
                <c:pt idx="5">
                  <c:v>1</c:v>
                </c:pt>
                <c:pt idx="6">
                  <c:v>0.8</c:v>
                </c:pt>
                <c:pt idx="7">
                  <c:v>0.6</c:v>
                </c:pt>
                <c:pt idx="8">
                  <c:v>0.4</c:v>
                </c:pt>
                <c:pt idx="9">
                  <c:v>0.19999999999999996</c:v>
                </c:pt>
                <c:pt idx="10">
                  <c:v>0</c:v>
                </c:pt>
                <c:pt idx="11">
                  <c:v>-0.19999999999999996</c:v>
                </c:pt>
                <c:pt idx="12">
                  <c:v>-0.39999999999999991</c:v>
                </c:pt>
                <c:pt idx="13">
                  <c:v>-0.60000000000000009</c:v>
                </c:pt>
                <c:pt idx="14">
                  <c:v>-0.8</c:v>
                </c:pt>
                <c:pt idx="15">
                  <c:v>-1</c:v>
                </c:pt>
                <c:pt idx="16">
                  <c:v>-0.85714285714285721</c:v>
                </c:pt>
                <c:pt idx="17">
                  <c:v>-0.71428571428571419</c:v>
                </c:pt>
                <c:pt idx="18">
                  <c:v>-0.5714285714285714</c:v>
                </c:pt>
                <c:pt idx="19">
                  <c:v>-0.4285714285714286</c:v>
                </c:pt>
                <c:pt idx="20">
                  <c:v>-0.28571428571428581</c:v>
                </c:pt>
                <c:pt idx="21">
                  <c:v>-0.14285714285714279</c:v>
                </c:pt>
                <c:pt idx="22">
                  <c:v>0</c:v>
                </c:pt>
                <c:pt idx="23">
                  <c:v>0.1428571428571429</c:v>
                </c:pt>
                <c:pt idx="24">
                  <c:v>0.2857142857142857</c:v>
                </c:pt>
                <c:pt idx="25">
                  <c:v>0.4285714285714286</c:v>
                </c:pt>
                <c:pt idx="26">
                  <c:v>0.5714285714285714</c:v>
                </c:pt>
                <c:pt idx="27">
                  <c:v>0.7142857142857143</c:v>
                </c:pt>
                <c:pt idx="28">
                  <c:v>0.85714285714285721</c:v>
                </c:pt>
                <c:pt idx="29">
                  <c:v>1</c:v>
                </c:pt>
                <c:pt idx="30">
                  <c:v>0.8</c:v>
                </c:pt>
                <c:pt idx="31">
                  <c:v>0.6</c:v>
                </c:pt>
                <c:pt idx="32">
                  <c:v>0.4</c:v>
                </c:pt>
                <c:pt idx="33">
                  <c:v>0.19999999999999996</c:v>
                </c:pt>
                <c:pt idx="34">
                  <c:v>0</c:v>
                </c:pt>
                <c:pt idx="35">
                  <c:v>-0.19999999999999996</c:v>
                </c:pt>
                <c:pt idx="36">
                  <c:v>-0.39999999999999991</c:v>
                </c:pt>
                <c:pt idx="37">
                  <c:v>-0.60000000000000009</c:v>
                </c:pt>
                <c:pt idx="38">
                  <c:v>-0.8</c:v>
                </c:pt>
                <c:pt idx="39">
                  <c:v>-1</c:v>
                </c:pt>
                <c:pt idx="40">
                  <c:v>-0.85714285714285721</c:v>
                </c:pt>
                <c:pt idx="41">
                  <c:v>-0.71428571428571419</c:v>
                </c:pt>
                <c:pt idx="42">
                  <c:v>-0.5714285714285714</c:v>
                </c:pt>
                <c:pt idx="43">
                  <c:v>-0.4285714285714286</c:v>
                </c:pt>
                <c:pt idx="44">
                  <c:v>-0.28571428571428581</c:v>
                </c:pt>
                <c:pt idx="45">
                  <c:v>-0.14285714285714279</c:v>
                </c:pt>
                <c:pt idx="46">
                  <c:v>0</c:v>
                </c:pt>
                <c:pt idx="47">
                  <c:v>0.1428571428571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82-4A31-AE1E-4011FA255F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5845520"/>
        <c:axId val="1641175760"/>
      </c:lineChart>
      <c:catAx>
        <c:axId val="1785845520"/>
        <c:scaling>
          <c:orientation val="minMax"/>
        </c:scaling>
        <c:delete val="0"/>
        <c:axPos val="b"/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1175760"/>
        <c:crosses val="autoZero"/>
        <c:auto val="1"/>
        <c:lblAlgn val="ctr"/>
        <c:lblOffset val="100"/>
        <c:noMultiLvlLbl val="0"/>
      </c:catAx>
      <c:valAx>
        <c:axId val="1641175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8584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empérature avec ou sans APV</a:t>
            </a:r>
          </a:p>
        </c:rich>
      </c:tx>
      <c:layout>
        <c:manualLayout>
          <c:xMode val="edge"/>
          <c:yMode val="edge"/>
          <c:x val="0.11218120830340197"/>
          <c:y val="6.48148148148148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5.2679424189568953E-2"/>
          <c:y val="0.19486111111111112"/>
          <c:w val="0.92129790106392684"/>
          <c:h val="0.75421296296296292"/>
        </c:manualLayout>
      </c:layout>
      <c:lineChart>
        <c:grouping val="standard"/>
        <c:varyColors val="0"/>
        <c:ser>
          <c:idx val="0"/>
          <c:order val="0"/>
          <c:tx>
            <c:v>température APV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ETR_P'!$B$2:$B$49</c:f>
              <c:numCache>
                <c:formatCode>h:mm</c:formatCode>
                <c:ptCount val="4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0</c:v>
                </c:pt>
                <c:pt idx="25">
                  <c:v>4.1666666666666664E-2</c:v>
                </c:pt>
                <c:pt idx="26">
                  <c:v>8.3333333333333329E-2</c:v>
                </c:pt>
                <c:pt idx="27">
                  <c:v>0.125</c:v>
                </c:pt>
                <c:pt idx="28">
                  <c:v>0.16666666666666666</c:v>
                </c:pt>
                <c:pt idx="29">
                  <c:v>0.20833333333333334</c:v>
                </c:pt>
                <c:pt idx="30">
                  <c:v>0.25</c:v>
                </c:pt>
                <c:pt idx="31">
                  <c:v>0.29166666666666669</c:v>
                </c:pt>
                <c:pt idx="32">
                  <c:v>0.33333333333333331</c:v>
                </c:pt>
                <c:pt idx="33">
                  <c:v>0.375</c:v>
                </c:pt>
                <c:pt idx="34">
                  <c:v>0.41666666666666669</c:v>
                </c:pt>
                <c:pt idx="35">
                  <c:v>0.45833333333333331</c:v>
                </c:pt>
                <c:pt idx="36">
                  <c:v>0.5</c:v>
                </c:pt>
                <c:pt idx="37">
                  <c:v>0.54166666666666663</c:v>
                </c:pt>
                <c:pt idx="38">
                  <c:v>0.58333333333333337</c:v>
                </c:pt>
                <c:pt idx="39">
                  <c:v>0.625</c:v>
                </c:pt>
                <c:pt idx="40">
                  <c:v>0.66666666666666663</c:v>
                </c:pt>
                <c:pt idx="41">
                  <c:v>0.70833333333333337</c:v>
                </c:pt>
                <c:pt idx="42">
                  <c:v>0.75</c:v>
                </c:pt>
                <c:pt idx="43">
                  <c:v>0.79166666666666663</c:v>
                </c:pt>
                <c:pt idx="44">
                  <c:v>0.83333333333333337</c:v>
                </c:pt>
                <c:pt idx="45">
                  <c:v>0.875</c:v>
                </c:pt>
                <c:pt idx="46">
                  <c:v>0.91666666666666663</c:v>
                </c:pt>
                <c:pt idx="47">
                  <c:v>0.95833333333333337</c:v>
                </c:pt>
              </c:numCache>
            </c:numRef>
          </c:cat>
          <c:val>
            <c:numRef>
              <c:f>'[Automatisation bilan hydrique futur.xlsm]ETR_P'!$E$2:$E$49</c:f>
              <c:numCache>
                <c:formatCode>General</c:formatCode>
                <c:ptCount val="48"/>
                <c:pt idx="0">
                  <c:v>-1.9142857142857146</c:v>
                </c:pt>
                <c:pt idx="1">
                  <c:v>-1.5714285714285714</c:v>
                </c:pt>
                <c:pt idx="2">
                  <c:v>-1.2285714285714286</c:v>
                </c:pt>
                <c:pt idx="3">
                  <c:v>-0.58571428571428574</c:v>
                </c:pt>
                <c:pt idx="4">
                  <c:v>-0.14285714285714279</c:v>
                </c:pt>
                <c:pt idx="5">
                  <c:v>0</c:v>
                </c:pt>
                <c:pt idx="6">
                  <c:v>-0.7</c:v>
                </c:pt>
                <c:pt idx="7">
                  <c:v>-0.70000000000000007</c:v>
                </c:pt>
                <c:pt idx="8">
                  <c:v>-0.99999999999999989</c:v>
                </c:pt>
                <c:pt idx="9">
                  <c:v>-1.3</c:v>
                </c:pt>
                <c:pt idx="10">
                  <c:v>-2.2999999999999998</c:v>
                </c:pt>
                <c:pt idx="11">
                  <c:v>-2.2000000000000002</c:v>
                </c:pt>
                <c:pt idx="12">
                  <c:v>-1.0999999999999999</c:v>
                </c:pt>
                <c:pt idx="13">
                  <c:v>0.79999999999999982</c:v>
                </c:pt>
                <c:pt idx="14">
                  <c:v>2.4000000000000004</c:v>
                </c:pt>
                <c:pt idx="15">
                  <c:v>3.4000000000000004</c:v>
                </c:pt>
                <c:pt idx="16">
                  <c:v>3.9428571428571426</c:v>
                </c:pt>
                <c:pt idx="17">
                  <c:v>3.8857142857142852</c:v>
                </c:pt>
                <c:pt idx="18">
                  <c:v>3.0285714285714285</c:v>
                </c:pt>
                <c:pt idx="19">
                  <c:v>0.97142857142857131</c:v>
                </c:pt>
                <c:pt idx="20">
                  <c:v>-0.88571428571428579</c:v>
                </c:pt>
                <c:pt idx="21">
                  <c:v>-1.8428571428571427</c:v>
                </c:pt>
                <c:pt idx="22">
                  <c:v>-2.1</c:v>
                </c:pt>
                <c:pt idx="23">
                  <c:v>-2.157142857142857</c:v>
                </c:pt>
                <c:pt idx="24">
                  <c:v>-2.2142857142857144</c:v>
                </c:pt>
                <c:pt idx="25">
                  <c:v>-2.0714285714285712</c:v>
                </c:pt>
                <c:pt idx="26">
                  <c:v>-2.2285714285714286</c:v>
                </c:pt>
                <c:pt idx="27">
                  <c:v>-2.0857142857142854</c:v>
                </c:pt>
                <c:pt idx="28">
                  <c:v>-1.842857142857143</c:v>
                </c:pt>
                <c:pt idx="29">
                  <c:v>-1.7999999999999998</c:v>
                </c:pt>
                <c:pt idx="30">
                  <c:v>-2.0999999999999996</c:v>
                </c:pt>
                <c:pt idx="31">
                  <c:v>-2.1999999999999997</c:v>
                </c:pt>
                <c:pt idx="32">
                  <c:v>-2.2000000000000002</c:v>
                </c:pt>
                <c:pt idx="33">
                  <c:v>-2.4000000000000004</c:v>
                </c:pt>
                <c:pt idx="34">
                  <c:v>-2.4</c:v>
                </c:pt>
                <c:pt idx="35">
                  <c:v>-1</c:v>
                </c:pt>
                <c:pt idx="36">
                  <c:v>1.7000000000000002</c:v>
                </c:pt>
                <c:pt idx="37">
                  <c:v>3.9999999999999996</c:v>
                </c:pt>
                <c:pt idx="38">
                  <c:v>5.9</c:v>
                </c:pt>
                <c:pt idx="39">
                  <c:v>6.8</c:v>
                </c:pt>
                <c:pt idx="40">
                  <c:v>6.6428571428571423</c:v>
                </c:pt>
                <c:pt idx="41">
                  <c:v>6.3857142857142852</c:v>
                </c:pt>
                <c:pt idx="42">
                  <c:v>5.3285714285714292</c:v>
                </c:pt>
                <c:pt idx="43">
                  <c:v>4.1714285714285708</c:v>
                </c:pt>
                <c:pt idx="44">
                  <c:v>3.6142857142857139</c:v>
                </c:pt>
                <c:pt idx="45">
                  <c:v>3.657142857142857</c:v>
                </c:pt>
                <c:pt idx="46">
                  <c:v>4.0999999999999996</c:v>
                </c:pt>
                <c:pt idx="47">
                  <c:v>4.5428571428571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247-4FE0-8FD7-394CA18F702A}"/>
            </c:ext>
          </c:extLst>
        </c:ser>
        <c:ser>
          <c:idx val="1"/>
          <c:order val="1"/>
          <c:tx>
            <c:v>Température contrôle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ETR_P'!$B$2:$B$49</c:f>
              <c:numCache>
                <c:formatCode>h:mm</c:formatCode>
                <c:ptCount val="48"/>
                <c:pt idx="0">
                  <c:v>0</c:v>
                </c:pt>
                <c:pt idx="1">
                  <c:v>4.1666666666666664E-2</c:v>
                </c:pt>
                <c:pt idx="2">
                  <c:v>8.3333333333333329E-2</c:v>
                </c:pt>
                <c:pt idx="3">
                  <c:v>0.125</c:v>
                </c:pt>
                <c:pt idx="4">
                  <c:v>0.16666666666666666</c:v>
                </c:pt>
                <c:pt idx="5">
                  <c:v>0.20833333333333334</c:v>
                </c:pt>
                <c:pt idx="6">
                  <c:v>0.25</c:v>
                </c:pt>
                <c:pt idx="7">
                  <c:v>0.29166666666666669</c:v>
                </c:pt>
                <c:pt idx="8">
                  <c:v>0.33333333333333331</c:v>
                </c:pt>
                <c:pt idx="9">
                  <c:v>0.375</c:v>
                </c:pt>
                <c:pt idx="10">
                  <c:v>0.41666666666666669</c:v>
                </c:pt>
                <c:pt idx="11">
                  <c:v>0.45833333333333331</c:v>
                </c:pt>
                <c:pt idx="12">
                  <c:v>0.5</c:v>
                </c:pt>
                <c:pt idx="13">
                  <c:v>0.54166666666666663</c:v>
                </c:pt>
                <c:pt idx="14">
                  <c:v>0.58333333333333337</c:v>
                </c:pt>
                <c:pt idx="15">
                  <c:v>0.625</c:v>
                </c:pt>
                <c:pt idx="16">
                  <c:v>0.66666666666666663</c:v>
                </c:pt>
                <c:pt idx="17">
                  <c:v>0.70833333333333337</c:v>
                </c:pt>
                <c:pt idx="18">
                  <c:v>0.75</c:v>
                </c:pt>
                <c:pt idx="19">
                  <c:v>0.79166666666666663</c:v>
                </c:pt>
                <c:pt idx="20">
                  <c:v>0.83333333333333337</c:v>
                </c:pt>
                <c:pt idx="21">
                  <c:v>0.875</c:v>
                </c:pt>
                <c:pt idx="22">
                  <c:v>0.91666666666666663</c:v>
                </c:pt>
                <c:pt idx="23">
                  <c:v>0.95833333333333337</c:v>
                </c:pt>
                <c:pt idx="24">
                  <c:v>0</c:v>
                </c:pt>
                <c:pt idx="25">
                  <c:v>4.1666666666666664E-2</c:v>
                </c:pt>
                <c:pt idx="26">
                  <c:v>8.3333333333333329E-2</c:v>
                </c:pt>
                <c:pt idx="27">
                  <c:v>0.125</c:v>
                </c:pt>
                <c:pt idx="28">
                  <c:v>0.16666666666666666</c:v>
                </c:pt>
                <c:pt idx="29">
                  <c:v>0.20833333333333334</c:v>
                </c:pt>
                <c:pt idx="30">
                  <c:v>0.25</c:v>
                </c:pt>
                <c:pt idx="31">
                  <c:v>0.29166666666666669</c:v>
                </c:pt>
                <c:pt idx="32">
                  <c:v>0.33333333333333331</c:v>
                </c:pt>
                <c:pt idx="33">
                  <c:v>0.375</c:v>
                </c:pt>
                <c:pt idx="34">
                  <c:v>0.41666666666666669</c:v>
                </c:pt>
                <c:pt idx="35">
                  <c:v>0.45833333333333331</c:v>
                </c:pt>
                <c:pt idx="36">
                  <c:v>0.5</c:v>
                </c:pt>
                <c:pt idx="37">
                  <c:v>0.54166666666666663</c:v>
                </c:pt>
                <c:pt idx="38">
                  <c:v>0.58333333333333337</c:v>
                </c:pt>
                <c:pt idx="39">
                  <c:v>0.625</c:v>
                </c:pt>
                <c:pt idx="40">
                  <c:v>0.66666666666666663</c:v>
                </c:pt>
                <c:pt idx="41">
                  <c:v>0.70833333333333337</c:v>
                </c:pt>
                <c:pt idx="42">
                  <c:v>0.75</c:v>
                </c:pt>
                <c:pt idx="43">
                  <c:v>0.79166666666666663</c:v>
                </c:pt>
                <c:pt idx="44">
                  <c:v>0.83333333333333337</c:v>
                </c:pt>
                <c:pt idx="45">
                  <c:v>0.875</c:v>
                </c:pt>
                <c:pt idx="46">
                  <c:v>0.91666666666666663</c:v>
                </c:pt>
                <c:pt idx="47">
                  <c:v>0.95833333333333337</c:v>
                </c:pt>
              </c:numCache>
            </c:numRef>
          </c:cat>
          <c:val>
            <c:numRef>
              <c:f>'[Automatisation bilan hydrique futur.xlsm]ETR_P'!$C$2:$C$49</c:f>
              <c:numCache>
                <c:formatCode>General</c:formatCode>
                <c:ptCount val="48"/>
                <c:pt idx="0">
                  <c:v>-2.2000000000000002</c:v>
                </c:pt>
                <c:pt idx="1">
                  <c:v>-2</c:v>
                </c:pt>
                <c:pt idx="2">
                  <c:v>-1.8</c:v>
                </c:pt>
                <c:pt idx="3">
                  <c:v>-1.3</c:v>
                </c:pt>
                <c:pt idx="4">
                  <c:v>-1</c:v>
                </c:pt>
                <c:pt idx="5">
                  <c:v>-1</c:v>
                </c:pt>
                <c:pt idx="6">
                  <c:v>-1.5</c:v>
                </c:pt>
                <c:pt idx="7">
                  <c:v>-1.3</c:v>
                </c:pt>
                <c:pt idx="8">
                  <c:v>-1.4</c:v>
                </c:pt>
                <c:pt idx="9">
                  <c:v>-1.5</c:v>
                </c:pt>
                <c:pt idx="10">
                  <c:v>-2.2999999999999998</c:v>
                </c:pt>
                <c:pt idx="11">
                  <c:v>-2</c:v>
                </c:pt>
                <c:pt idx="12">
                  <c:v>-0.7</c:v>
                </c:pt>
                <c:pt idx="13">
                  <c:v>1.4</c:v>
                </c:pt>
                <c:pt idx="14">
                  <c:v>3.2</c:v>
                </c:pt>
                <c:pt idx="15">
                  <c:v>4.4000000000000004</c:v>
                </c:pt>
                <c:pt idx="16">
                  <c:v>4.8</c:v>
                </c:pt>
                <c:pt idx="17">
                  <c:v>4.5999999999999996</c:v>
                </c:pt>
                <c:pt idx="18">
                  <c:v>3.6</c:v>
                </c:pt>
                <c:pt idx="19">
                  <c:v>1.4</c:v>
                </c:pt>
                <c:pt idx="20">
                  <c:v>-0.6</c:v>
                </c:pt>
                <c:pt idx="21">
                  <c:v>-1.7</c:v>
                </c:pt>
                <c:pt idx="22">
                  <c:v>-2.1</c:v>
                </c:pt>
                <c:pt idx="23">
                  <c:v>-2.2999999999999998</c:v>
                </c:pt>
                <c:pt idx="24">
                  <c:v>-2.5</c:v>
                </c:pt>
                <c:pt idx="25">
                  <c:v>-2.5</c:v>
                </c:pt>
                <c:pt idx="26">
                  <c:v>-2.8</c:v>
                </c:pt>
                <c:pt idx="27">
                  <c:v>-2.8</c:v>
                </c:pt>
                <c:pt idx="28">
                  <c:v>-2.7</c:v>
                </c:pt>
                <c:pt idx="29">
                  <c:v>-2.8</c:v>
                </c:pt>
                <c:pt idx="30">
                  <c:v>-2.9</c:v>
                </c:pt>
                <c:pt idx="31">
                  <c:v>-2.8</c:v>
                </c:pt>
                <c:pt idx="32">
                  <c:v>-2.6</c:v>
                </c:pt>
                <c:pt idx="33">
                  <c:v>-2.6</c:v>
                </c:pt>
                <c:pt idx="34">
                  <c:v>-2.4</c:v>
                </c:pt>
                <c:pt idx="35">
                  <c:v>-0.8</c:v>
                </c:pt>
                <c:pt idx="36">
                  <c:v>2.1</c:v>
                </c:pt>
                <c:pt idx="37">
                  <c:v>4.5999999999999996</c:v>
                </c:pt>
                <c:pt idx="38">
                  <c:v>6.7</c:v>
                </c:pt>
                <c:pt idx="39">
                  <c:v>7.8</c:v>
                </c:pt>
                <c:pt idx="40">
                  <c:v>7.5</c:v>
                </c:pt>
                <c:pt idx="41">
                  <c:v>7.1</c:v>
                </c:pt>
                <c:pt idx="42">
                  <c:v>5.9</c:v>
                </c:pt>
                <c:pt idx="43">
                  <c:v>4.5999999999999996</c:v>
                </c:pt>
                <c:pt idx="44">
                  <c:v>3.9</c:v>
                </c:pt>
                <c:pt idx="45">
                  <c:v>3.8</c:v>
                </c:pt>
                <c:pt idx="46">
                  <c:v>4.0999999999999996</c:v>
                </c:pt>
                <c:pt idx="47">
                  <c:v>4.4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47-4FE0-8FD7-394CA18F70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52152784"/>
        <c:axId val="1992459360"/>
      </c:lineChart>
      <c:catAx>
        <c:axId val="1652152784"/>
        <c:scaling>
          <c:orientation val="minMax"/>
        </c:scaling>
        <c:delete val="0"/>
        <c:axPos val="b"/>
        <c:numFmt formatCode="h: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92459360"/>
        <c:crosses val="autoZero"/>
        <c:auto val="1"/>
        <c:lblAlgn val="ctr"/>
        <c:lblOffset val="100"/>
        <c:noMultiLvlLbl val="0"/>
      </c:catAx>
      <c:valAx>
        <c:axId val="1992459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215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342783134512956"/>
          <c:y val="2.3934456109652932E-2"/>
          <c:w val="0.24360512998271697"/>
          <c:h val="0.156251093613298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Evolution de l'eau utile avec ou sans photovoltaïq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5.5916674972590438E-2"/>
          <c:y val="0.10957850540621052"/>
          <c:w val="0.77452506727798265"/>
          <c:h val="0.67527497249438295"/>
        </c:manualLayout>
      </c:layout>
      <c:lineChart>
        <c:grouping val="standard"/>
        <c:varyColors val="0"/>
        <c:ser>
          <c:idx val="0"/>
          <c:order val="0"/>
          <c:tx>
            <c:v>contrôl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K$2:$K$365</c:f>
              <c:numCache>
                <c:formatCode>General</c:formatCode>
                <c:ptCount val="364"/>
                <c:pt idx="0">
                  <c:v>68.40100000000001</c:v>
                </c:pt>
                <c:pt idx="1">
                  <c:v>68.007900000000006</c:v>
                </c:pt>
                <c:pt idx="2">
                  <c:v>65.0364</c:v>
                </c:pt>
                <c:pt idx="3">
                  <c:v>62.647399999999998</c:v>
                </c:pt>
                <c:pt idx="4">
                  <c:v>60.971299999999999</c:v>
                </c:pt>
                <c:pt idx="5">
                  <c:v>58.256399999999999</c:v>
                </c:pt>
                <c:pt idx="6">
                  <c:v>57.205499999999994</c:v>
                </c:pt>
                <c:pt idx="7">
                  <c:v>54.773799999999994</c:v>
                </c:pt>
                <c:pt idx="8">
                  <c:v>51.204699999999995</c:v>
                </c:pt>
                <c:pt idx="9">
                  <c:v>47.514599999999994</c:v>
                </c:pt>
                <c:pt idx="10">
                  <c:v>44.992099999999994</c:v>
                </c:pt>
                <c:pt idx="11">
                  <c:v>43.125299999999996</c:v>
                </c:pt>
                <c:pt idx="12">
                  <c:v>40.331699999999998</c:v>
                </c:pt>
                <c:pt idx="13">
                  <c:v>39.698599999999992</c:v>
                </c:pt>
                <c:pt idx="14">
                  <c:v>36.046199999999992</c:v>
                </c:pt>
                <c:pt idx="15">
                  <c:v>32.56369999999999</c:v>
                </c:pt>
                <c:pt idx="16">
                  <c:v>28.420999999999992</c:v>
                </c:pt>
                <c:pt idx="17">
                  <c:v>24.355299999999993</c:v>
                </c:pt>
                <c:pt idx="18">
                  <c:v>20.743077262905508</c:v>
                </c:pt>
                <c:pt idx="19">
                  <c:v>16.99227425098287</c:v>
                </c:pt>
                <c:pt idx="20">
                  <c:v>27.886496473205096</c:v>
                </c:pt>
                <c:pt idx="21">
                  <c:v>24.224396473205097</c:v>
                </c:pt>
                <c:pt idx="22">
                  <c:v>31.061996473205102</c:v>
                </c:pt>
                <c:pt idx="23">
                  <c:v>39.701096473205098</c:v>
                </c:pt>
                <c:pt idx="24">
                  <c:v>54.9136964732051</c:v>
                </c:pt>
                <c:pt idx="25">
                  <c:v>62.482296473205103</c:v>
                </c:pt>
                <c:pt idx="26">
                  <c:v>62.089696473205109</c:v>
                </c:pt>
                <c:pt idx="27">
                  <c:v>60.741596473205114</c:v>
                </c:pt>
                <c:pt idx="28">
                  <c:v>61.871496473205106</c:v>
                </c:pt>
                <c:pt idx="29">
                  <c:v>54.299996473205105</c:v>
                </c:pt>
                <c:pt idx="30">
                  <c:v>47.546596473205106</c:v>
                </c:pt>
                <c:pt idx="31">
                  <c:v>43.744596473205107</c:v>
                </c:pt>
                <c:pt idx="32">
                  <c:v>36.077796473205105</c:v>
                </c:pt>
                <c:pt idx="33">
                  <c:v>27.834396473205103</c:v>
                </c:pt>
                <c:pt idx="34">
                  <c:v>17.574763511678388</c:v>
                </c:pt>
                <c:pt idx="35">
                  <c:v>27.813585733900606</c:v>
                </c:pt>
                <c:pt idx="36">
                  <c:v>17.478671930176425</c:v>
                </c:pt>
                <c:pt idx="37">
                  <c:v>23.733194152398646</c:v>
                </c:pt>
                <c:pt idx="38">
                  <c:v>29.853316374620867</c:v>
                </c:pt>
                <c:pt idx="39">
                  <c:v>25.736816374620865</c:v>
                </c:pt>
                <c:pt idx="40">
                  <c:v>16.278674633873734</c:v>
                </c:pt>
                <c:pt idx="41">
                  <c:v>25.161863884695478</c:v>
                </c:pt>
                <c:pt idx="42">
                  <c:v>14.176663720324969</c:v>
                </c:pt>
                <c:pt idx="43">
                  <c:v>24.335116339166358</c:v>
                </c:pt>
                <c:pt idx="44">
                  <c:v>16.239966119752559</c:v>
                </c:pt>
                <c:pt idx="45">
                  <c:v>25.020364631483694</c:v>
                </c:pt>
                <c:pt idx="46">
                  <c:v>15.320945080391251</c:v>
                </c:pt>
                <c:pt idx="47">
                  <c:v>25.161938746510767</c:v>
                </c:pt>
                <c:pt idx="48">
                  <c:v>15.593258196716338</c:v>
                </c:pt>
                <c:pt idx="49">
                  <c:v>25.198796919651798</c:v>
                </c:pt>
                <c:pt idx="50">
                  <c:v>19.614803055386332</c:v>
                </c:pt>
                <c:pt idx="51">
                  <c:v>27.575425277608556</c:v>
                </c:pt>
                <c:pt idx="52">
                  <c:v>15.706797110507908</c:v>
                </c:pt>
                <c:pt idx="53">
                  <c:v>24.701919332730128</c:v>
                </c:pt>
                <c:pt idx="54">
                  <c:v>16.832089562714266</c:v>
                </c:pt>
                <c:pt idx="55">
                  <c:v>24.47091178493649</c:v>
                </c:pt>
                <c:pt idx="56">
                  <c:v>16.664697722917868</c:v>
                </c:pt>
                <c:pt idx="57">
                  <c:v>23.02981994514009</c:v>
                </c:pt>
                <c:pt idx="58">
                  <c:v>29.897342167362311</c:v>
                </c:pt>
                <c:pt idx="59">
                  <c:v>19.646375275318121</c:v>
                </c:pt>
                <c:pt idx="60">
                  <c:v>30.029097497540349</c:v>
                </c:pt>
                <c:pt idx="61">
                  <c:v>23.814297497540352</c:v>
                </c:pt>
                <c:pt idx="62">
                  <c:v>17.155896372539111</c:v>
                </c:pt>
                <c:pt idx="63">
                  <c:v>25.167518594761333</c:v>
                </c:pt>
                <c:pt idx="64">
                  <c:v>23.153518594761334</c:v>
                </c:pt>
                <c:pt idx="65">
                  <c:v>16.09261105716271</c:v>
                </c:pt>
                <c:pt idx="66">
                  <c:v>25.905133279384934</c:v>
                </c:pt>
                <c:pt idx="67">
                  <c:v>19.42758123252468</c:v>
                </c:pt>
                <c:pt idx="68">
                  <c:v>29.005903454746907</c:v>
                </c:pt>
                <c:pt idx="69">
                  <c:v>25.019803454746906</c:v>
                </c:pt>
                <c:pt idx="70">
                  <c:v>19.534182010457506</c:v>
                </c:pt>
                <c:pt idx="71">
                  <c:v>18.745154740065693</c:v>
                </c:pt>
                <c:pt idx="72">
                  <c:v>27.370076962287918</c:v>
                </c:pt>
                <c:pt idx="73">
                  <c:v>26.163276962287917</c:v>
                </c:pt>
                <c:pt idx="74">
                  <c:v>18.97100547455112</c:v>
                </c:pt>
                <c:pt idx="75">
                  <c:v>25.847927696773343</c:v>
                </c:pt>
                <c:pt idx="76">
                  <c:v>29.133327696773346</c:v>
                </c:pt>
                <c:pt idx="77">
                  <c:v>45.288927696773342</c:v>
                </c:pt>
                <c:pt idx="78">
                  <c:v>40.243227696773346</c:v>
                </c:pt>
                <c:pt idx="79">
                  <c:v>35.463227696773345</c:v>
                </c:pt>
                <c:pt idx="80">
                  <c:v>31.872527696773346</c:v>
                </c:pt>
                <c:pt idx="81">
                  <c:v>51.764027696773347</c:v>
                </c:pt>
                <c:pt idx="82">
                  <c:v>53.588827696773343</c:v>
                </c:pt>
                <c:pt idx="83">
                  <c:v>48.896227696773344</c:v>
                </c:pt>
                <c:pt idx="84">
                  <c:v>43.871927696773341</c:v>
                </c:pt>
                <c:pt idx="85">
                  <c:v>40.531127696773339</c:v>
                </c:pt>
                <c:pt idx="86">
                  <c:v>68.40100000000001</c:v>
                </c:pt>
                <c:pt idx="87">
                  <c:v>68.40100000000001</c:v>
                </c:pt>
                <c:pt idx="88">
                  <c:v>65.30680000000001</c:v>
                </c:pt>
                <c:pt idx="89">
                  <c:v>61.148400000000009</c:v>
                </c:pt>
                <c:pt idx="90">
                  <c:v>57.386200000000009</c:v>
                </c:pt>
                <c:pt idx="91">
                  <c:v>53.785800000000009</c:v>
                </c:pt>
                <c:pt idx="92">
                  <c:v>49.294500000000006</c:v>
                </c:pt>
                <c:pt idx="93">
                  <c:v>44.598200000000006</c:v>
                </c:pt>
                <c:pt idx="94">
                  <c:v>39.504300000000008</c:v>
                </c:pt>
                <c:pt idx="95">
                  <c:v>36.540900000000008</c:v>
                </c:pt>
                <c:pt idx="96">
                  <c:v>44.667500000000004</c:v>
                </c:pt>
                <c:pt idx="97">
                  <c:v>44.667500000000004</c:v>
                </c:pt>
                <c:pt idx="98">
                  <c:v>44.667500000000004</c:v>
                </c:pt>
                <c:pt idx="99">
                  <c:v>44.667500000000004</c:v>
                </c:pt>
                <c:pt idx="100">
                  <c:v>44.667500000000004</c:v>
                </c:pt>
                <c:pt idx="101">
                  <c:v>44.667500000000004</c:v>
                </c:pt>
                <c:pt idx="102">
                  <c:v>44.667500000000004</c:v>
                </c:pt>
                <c:pt idx="103">
                  <c:v>44.667500000000004</c:v>
                </c:pt>
                <c:pt idx="104">
                  <c:v>44.667500000000004</c:v>
                </c:pt>
                <c:pt idx="105">
                  <c:v>44.667500000000004</c:v>
                </c:pt>
                <c:pt idx="106">
                  <c:v>44.667500000000004</c:v>
                </c:pt>
                <c:pt idx="107">
                  <c:v>44.667500000000004</c:v>
                </c:pt>
                <c:pt idx="108">
                  <c:v>44.667500000000004</c:v>
                </c:pt>
                <c:pt idx="109">
                  <c:v>44.667500000000004</c:v>
                </c:pt>
                <c:pt idx="110">
                  <c:v>44.667500000000004</c:v>
                </c:pt>
                <c:pt idx="111">
                  <c:v>44.667500000000004</c:v>
                </c:pt>
                <c:pt idx="112">
                  <c:v>44.667500000000004</c:v>
                </c:pt>
                <c:pt idx="113">
                  <c:v>44.667500000000004</c:v>
                </c:pt>
                <c:pt idx="114">
                  <c:v>44.667500000000004</c:v>
                </c:pt>
                <c:pt idx="115">
                  <c:v>44.667500000000004</c:v>
                </c:pt>
                <c:pt idx="116">
                  <c:v>44.667500000000004</c:v>
                </c:pt>
                <c:pt idx="117">
                  <c:v>44.667500000000004</c:v>
                </c:pt>
                <c:pt idx="118">
                  <c:v>44.667500000000004</c:v>
                </c:pt>
                <c:pt idx="119">
                  <c:v>44.667500000000004</c:v>
                </c:pt>
                <c:pt idx="120">
                  <c:v>44.667500000000004</c:v>
                </c:pt>
                <c:pt idx="121">
                  <c:v>44.667500000000004</c:v>
                </c:pt>
                <c:pt idx="122">
                  <c:v>44.667500000000004</c:v>
                </c:pt>
                <c:pt idx="123">
                  <c:v>44.667500000000004</c:v>
                </c:pt>
                <c:pt idx="124">
                  <c:v>44.667500000000004</c:v>
                </c:pt>
                <c:pt idx="125">
                  <c:v>44.667500000000004</c:v>
                </c:pt>
                <c:pt idx="126">
                  <c:v>44.667500000000004</c:v>
                </c:pt>
                <c:pt idx="127">
                  <c:v>44.667500000000004</c:v>
                </c:pt>
                <c:pt idx="128">
                  <c:v>44.667500000000004</c:v>
                </c:pt>
                <c:pt idx="129">
                  <c:v>44.667500000000004</c:v>
                </c:pt>
                <c:pt idx="130">
                  <c:v>44.667500000000004</c:v>
                </c:pt>
                <c:pt idx="131">
                  <c:v>44.667500000000004</c:v>
                </c:pt>
                <c:pt idx="132">
                  <c:v>44.667500000000004</c:v>
                </c:pt>
                <c:pt idx="133">
                  <c:v>44.667500000000004</c:v>
                </c:pt>
                <c:pt idx="134">
                  <c:v>44.667500000000004</c:v>
                </c:pt>
                <c:pt idx="135">
                  <c:v>44.667500000000004</c:v>
                </c:pt>
                <c:pt idx="136">
                  <c:v>44.667500000000004</c:v>
                </c:pt>
                <c:pt idx="137">
                  <c:v>44.667500000000004</c:v>
                </c:pt>
                <c:pt idx="138">
                  <c:v>44.667500000000004</c:v>
                </c:pt>
                <c:pt idx="139">
                  <c:v>44.667500000000004</c:v>
                </c:pt>
                <c:pt idx="140">
                  <c:v>44.667500000000004</c:v>
                </c:pt>
                <c:pt idx="141">
                  <c:v>44.667500000000004</c:v>
                </c:pt>
                <c:pt idx="142">
                  <c:v>44.667500000000004</c:v>
                </c:pt>
                <c:pt idx="143">
                  <c:v>44.667500000000004</c:v>
                </c:pt>
                <c:pt idx="144">
                  <c:v>44.667500000000004</c:v>
                </c:pt>
                <c:pt idx="145">
                  <c:v>44.667500000000004</c:v>
                </c:pt>
                <c:pt idx="146">
                  <c:v>44.667500000000004</c:v>
                </c:pt>
                <c:pt idx="147">
                  <c:v>44.667500000000004</c:v>
                </c:pt>
                <c:pt idx="148">
                  <c:v>44.667500000000004</c:v>
                </c:pt>
                <c:pt idx="149">
                  <c:v>44.667500000000004</c:v>
                </c:pt>
                <c:pt idx="150">
                  <c:v>44.667500000000004</c:v>
                </c:pt>
                <c:pt idx="151">
                  <c:v>44.667500000000004</c:v>
                </c:pt>
                <c:pt idx="152">
                  <c:v>44.667500000000004</c:v>
                </c:pt>
                <c:pt idx="153">
                  <c:v>44.667500000000004</c:v>
                </c:pt>
                <c:pt idx="154">
                  <c:v>44.667500000000004</c:v>
                </c:pt>
                <c:pt idx="155">
                  <c:v>44.667500000000004</c:v>
                </c:pt>
                <c:pt idx="156">
                  <c:v>44.667500000000004</c:v>
                </c:pt>
                <c:pt idx="157">
                  <c:v>44.667500000000004</c:v>
                </c:pt>
                <c:pt idx="158">
                  <c:v>44.667500000000004</c:v>
                </c:pt>
                <c:pt idx="159">
                  <c:v>44.667500000000004</c:v>
                </c:pt>
                <c:pt idx="160">
                  <c:v>44.667500000000004</c:v>
                </c:pt>
                <c:pt idx="161">
                  <c:v>44.667500000000004</c:v>
                </c:pt>
                <c:pt idx="162">
                  <c:v>44.667500000000004</c:v>
                </c:pt>
                <c:pt idx="163">
                  <c:v>44.667500000000004</c:v>
                </c:pt>
                <c:pt idx="164">
                  <c:v>44.667500000000004</c:v>
                </c:pt>
                <c:pt idx="165">
                  <c:v>44.667500000000004</c:v>
                </c:pt>
                <c:pt idx="166">
                  <c:v>44.667500000000004</c:v>
                </c:pt>
                <c:pt idx="167">
                  <c:v>44.667500000000004</c:v>
                </c:pt>
                <c:pt idx="168">
                  <c:v>44.667500000000004</c:v>
                </c:pt>
                <c:pt idx="169">
                  <c:v>44.667500000000004</c:v>
                </c:pt>
                <c:pt idx="170">
                  <c:v>44.667500000000004</c:v>
                </c:pt>
                <c:pt idx="171">
                  <c:v>44.667500000000004</c:v>
                </c:pt>
                <c:pt idx="172">
                  <c:v>44.667500000000004</c:v>
                </c:pt>
                <c:pt idx="173">
                  <c:v>44.667500000000004</c:v>
                </c:pt>
                <c:pt idx="174">
                  <c:v>44.667500000000004</c:v>
                </c:pt>
                <c:pt idx="175">
                  <c:v>44.667500000000004</c:v>
                </c:pt>
                <c:pt idx="176">
                  <c:v>44.667500000000004</c:v>
                </c:pt>
                <c:pt idx="177">
                  <c:v>44.667500000000004</c:v>
                </c:pt>
                <c:pt idx="178">
                  <c:v>44.667500000000004</c:v>
                </c:pt>
                <c:pt idx="179">
                  <c:v>44.667500000000004</c:v>
                </c:pt>
                <c:pt idx="180">
                  <c:v>44.667500000000004</c:v>
                </c:pt>
                <c:pt idx="181">
                  <c:v>44.667500000000004</c:v>
                </c:pt>
                <c:pt idx="182">
                  <c:v>44.667500000000004</c:v>
                </c:pt>
                <c:pt idx="183">
                  <c:v>44.667500000000004</c:v>
                </c:pt>
                <c:pt idx="184">
                  <c:v>44.667500000000004</c:v>
                </c:pt>
                <c:pt idx="185">
                  <c:v>44.667500000000004</c:v>
                </c:pt>
                <c:pt idx="186">
                  <c:v>44.667500000000004</c:v>
                </c:pt>
                <c:pt idx="187">
                  <c:v>44.667500000000004</c:v>
                </c:pt>
                <c:pt idx="188">
                  <c:v>44.667500000000004</c:v>
                </c:pt>
                <c:pt idx="189">
                  <c:v>44.667500000000004</c:v>
                </c:pt>
                <c:pt idx="190">
                  <c:v>44.667500000000004</c:v>
                </c:pt>
                <c:pt idx="191">
                  <c:v>44.667500000000004</c:v>
                </c:pt>
                <c:pt idx="192">
                  <c:v>44.667500000000004</c:v>
                </c:pt>
                <c:pt idx="193">
                  <c:v>44.667500000000004</c:v>
                </c:pt>
                <c:pt idx="194">
                  <c:v>44.667500000000004</c:v>
                </c:pt>
                <c:pt idx="195">
                  <c:v>44.667500000000004</c:v>
                </c:pt>
                <c:pt idx="196">
                  <c:v>44.667500000000004</c:v>
                </c:pt>
                <c:pt idx="197">
                  <c:v>44.667500000000004</c:v>
                </c:pt>
                <c:pt idx="198">
                  <c:v>44.667500000000004</c:v>
                </c:pt>
                <c:pt idx="199">
                  <c:v>44.667500000000004</c:v>
                </c:pt>
                <c:pt idx="200">
                  <c:v>44.667500000000004</c:v>
                </c:pt>
                <c:pt idx="201">
                  <c:v>44.667500000000004</c:v>
                </c:pt>
                <c:pt idx="202">
                  <c:v>44.667500000000004</c:v>
                </c:pt>
                <c:pt idx="203">
                  <c:v>44.667500000000004</c:v>
                </c:pt>
                <c:pt idx="204">
                  <c:v>44.667500000000004</c:v>
                </c:pt>
                <c:pt idx="205">
                  <c:v>44.667500000000004</c:v>
                </c:pt>
                <c:pt idx="206">
                  <c:v>44.667500000000004</c:v>
                </c:pt>
                <c:pt idx="207">
                  <c:v>44.667500000000004</c:v>
                </c:pt>
                <c:pt idx="208">
                  <c:v>44.667500000000004</c:v>
                </c:pt>
                <c:pt idx="209">
                  <c:v>44.667500000000004</c:v>
                </c:pt>
                <c:pt idx="210">
                  <c:v>44.667500000000004</c:v>
                </c:pt>
                <c:pt idx="211">
                  <c:v>44.667500000000004</c:v>
                </c:pt>
                <c:pt idx="212">
                  <c:v>44.667500000000004</c:v>
                </c:pt>
                <c:pt idx="213">
                  <c:v>44.667500000000004</c:v>
                </c:pt>
                <c:pt idx="214">
                  <c:v>44.667500000000004</c:v>
                </c:pt>
                <c:pt idx="215">
                  <c:v>44.667500000000004</c:v>
                </c:pt>
                <c:pt idx="216">
                  <c:v>44.667500000000004</c:v>
                </c:pt>
                <c:pt idx="217">
                  <c:v>44.667500000000004</c:v>
                </c:pt>
                <c:pt idx="218">
                  <c:v>44.667500000000004</c:v>
                </c:pt>
                <c:pt idx="219">
                  <c:v>44.667500000000004</c:v>
                </c:pt>
                <c:pt idx="220">
                  <c:v>44.667500000000004</c:v>
                </c:pt>
                <c:pt idx="221">
                  <c:v>44.667500000000004</c:v>
                </c:pt>
                <c:pt idx="222">
                  <c:v>44.667500000000004</c:v>
                </c:pt>
                <c:pt idx="223">
                  <c:v>44.667500000000004</c:v>
                </c:pt>
                <c:pt idx="224">
                  <c:v>44.667500000000004</c:v>
                </c:pt>
                <c:pt idx="225">
                  <c:v>44.667500000000004</c:v>
                </c:pt>
                <c:pt idx="226">
                  <c:v>44.667500000000004</c:v>
                </c:pt>
                <c:pt idx="227">
                  <c:v>44.667500000000004</c:v>
                </c:pt>
                <c:pt idx="228">
                  <c:v>44.667500000000004</c:v>
                </c:pt>
                <c:pt idx="229">
                  <c:v>44.667500000000004</c:v>
                </c:pt>
                <c:pt idx="230">
                  <c:v>44.667500000000004</c:v>
                </c:pt>
                <c:pt idx="231">
                  <c:v>44.667500000000004</c:v>
                </c:pt>
                <c:pt idx="232">
                  <c:v>44.667500000000004</c:v>
                </c:pt>
                <c:pt idx="233">
                  <c:v>44.667500000000004</c:v>
                </c:pt>
                <c:pt idx="234">
                  <c:v>44.667500000000004</c:v>
                </c:pt>
                <c:pt idx="235">
                  <c:v>44.667500000000004</c:v>
                </c:pt>
                <c:pt idx="236">
                  <c:v>44.667500000000004</c:v>
                </c:pt>
                <c:pt idx="237">
                  <c:v>44.667500000000004</c:v>
                </c:pt>
                <c:pt idx="238">
                  <c:v>44.667500000000004</c:v>
                </c:pt>
                <c:pt idx="239">
                  <c:v>44.667500000000004</c:v>
                </c:pt>
                <c:pt idx="240">
                  <c:v>44.667500000000004</c:v>
                </c:pt>
                <c:pt idx="241">
                  <c:v>44.667500000000004</c:v>
                </c:pt>
                <c:pt idx="242">
                  <c:v>44.667500000000004</c:v>
                </c:pt>
                <c:pt idx="243">
                  <c:v>44.667500000000004</c:v>
                </c:pt>
                <c:pt idx="244">
                  <c:v>44.667500000000004</c:v>
                </c:pt>
                <c:pt idx="245">
                  <c:v>44.667500000000004</c:v>
                </c:pt>
                <c:pt idx="246">
                  <c:v>44.667500000000004</c:v>
                </c:pt>
                <c:pt idx="247">
                  <c:v>44.667500000000004</c:v>
                </c:pt>
                <c:pt idx="248">
                  <c:v>44.667500000000004</c:v>
                </c:pt>
                <c:pt idx="249">
                  <c:v>44.667500000000004</c:v>
                </c:pt>
                <c:pt idx="250">
                  <c:v>44.667500000000004</c:v>
                </c:pt>
                <c:pt idx="251">
                  <c:v>44.667500000000004</c:v>
                </c:pt>
                <c:pt idx="252">
                  <c:v>44.667500000000004</c:v>
                </c:pt>
                <c:pt idx="253">
                  <c:v>44.667500000000004</c:v>
                </c:pt>
                <c:pt idx="254">
                  <c:v>44.667500000000004</c:v>
                </c:pt>
                <c:pt idx="255">
                  <c:v>44.667500000000004</c:v>
                </c:pt>
                <c:pt idx="256">
                  <c:v>44.667500000000004</c:v>
                </c:pt>
                <c:pt idx="257">
                  <c:v>44.667500000000004</c:v>
                </c:pt>
                <c:pt idx="258">
                  <c:v>44.667500000000004</c:v>
                </c:pt>
                <c:pt idx="259">
                  <c:v>44.667500000000004</c:v>
                </c:pt>
                <c:pt idx="260">
                  <c:v>44.667500000000004</c:v>
                </c:pt>
                <c:pt idx="261">
                  <c:v>44.667500000000004</c:v>
                </c:pt>
                <c:pt idx="262">
                  <c:v>44.667500000000004</c:v>
                </c:pt>
                <c:pt idx="263">
                  <c:v>44.667500000000004</c:v>
                </c:pt>
                <c:pt idx="264">
                  <c:v>44.667500000000004</c:v>
                </c:pt>
                <c:pt idx="265">
                  <c:v>44.667500000000004</c:v>
                </c:pt>
                <c:pt idx="266">
                  <c:v>44.667500000000004</c:v>
                </c:pt>
                <c:pt idx="267">
                  <c:v>44.667500000000004</c:v>
                </c:pt>
                <c:pt idx="268">
                  <c:v>44.667500000000004</c:v>
                </c:pt>
                <c:pt idx="269">
                  <c:v>44.667500000000004</c:v>
                </c:pt>
                <c:pt idx="270">
                  <c:v>44.667500000000004</c:v>
                </c:pt>
                <c:pt idx="271">
                  <c:v>44.667500000000004</c:v>
                </c:pt>
                <c:pt idx="272">
                  <c:v>44.667500000000004</c:v>
                </c:pt>
                <c:pt idx="273">
                  <c:v>44.667500000000004</c:v>
                </c:pt>
                <c:pt idx="274">
                  <c:v>44.667500000000004</c:v>
                </c:pt>
                <c:pt idx="275">
                  <c:v>44.667500000000004</c:v>
                </c:pt>
                <c:pt idx="276">
                  <c:v>44.667500000000004</c:v>
                </c:pt>
                <c:pt idx="277">
                  <c:v>44.667500000000004</c:v>
                </c:pt>
                <c:pt idx="278">
                  <c:v>44.667500000000004</c:v>
                </c:pt>
                <c:pt idx="279">
                  <c:v>44.667500000000004</c:v>
                </c:pt>
                <c:pt idx="280">
                  <c:v>44.667500000000004</c:v>
                </c:pt>
                <c:pt idx="281">
                  <c:v>44.667500000000004</c:v>
                </c:pt>
                <c:pt idx="282">
                  <c:v>44.667500000000004</c:v>
                </c:pt>
                <c:pt idx="283">
                  <c:v>44.667500000000004</c:v>
                </c:pt>
                <c:pt idx="284">
                  <c:v>44.667500000000004</c:v>
                </c:pt>
                <c:pt idx="285">
                  <c:v>44.667500000000004</c:v>
                </c:pt>
                <c:pt idx="286">
                  <c:v>44.667500000000004</c:v>
                </c:pt>
                <c:pt idx="287">
                  <c:v>44.667500000000004</c:v>
                </c:pt>
                <c:pt idx="288">
                  <c:v>44.667500000000004</c:v>
                </c:pt>
                <c:pt idx="289">
                  <c:v>44.667500000000004</c:v>
                </c:pt>
                <c:pt idx="290">
                  <c:v>44.667500000000004</c:v>
                </c:pt>
                <c:pt idx="291">
                  <c:v>44.667500000000004</c:v>
                </c:pt>
                <c:pt idx="292">
                  <c:v>44.667500000000004</c:v>
                </c:pt>
                <c:pt idx="293">
                  <c:v>44.667500000000004</c:v>
                </c:pt>
                <c:pt idx="294">
                  <c:v>44.667500000000004</c:v>
                </c:pt>
                <c:pt idx="295">
                  <c:v>44.667500000000004</c:v>
                </c:pt>
                <c:pt idx="296">
                  <c:v>44.667500000000004</c:v>
                </c:pt>
                <c:pt idx="297">
                  <c:v>44.667500000000004</c:v>
                </c:pt>
                <c:pt idx="298">
                  <c:v>44.667500000000004</c:v>
                </c:pt>
                <c:pt idx="299">
                  <c:v>44.667500000000004</c:v>
                </c:pt>
                <c:pt idx="300">
                  <c:v>44.667500000000004</c:v>
                </c:pt>
                <c:pt idx="301">
                  <c:v>44.667500000000004</c:v>
                </c:pt>
                <c:pt idx="302">
                  <c:v>44.667500000000004</c:v>
                </c:pt>
                <c:pt idx="303">
                  <c:v>44.667500000000004</c:v>
                </c:pt>
                <c:pt idx="304">
                  <c:v>44.667500000000004</c:v>
                </c:pt>
                <c:pt idx="305">
                  <c:v>44.667500000000004</c:v>
                </c:pt>
                <c:pt idx="306">
                  <c:v>44.667500000000004</c:v>
                </c:pt>
                <c:pt idx="307">
                  <c:v>44.667500000000004</c:v>
                </c:pt>
                <c:pt idx="308">
                  <c:v>44.667500000000004</c:v>
                </c:pt>
                <c:pt idx="309">
                  <c:v>44.667500000000004</c:v>
                </c:pt>
                <c:pt idx="310">
                  <c:v>44.667500000000004</c:v>
                </c:pt>
                <c:pt idx="311">
                  <c:v>44.667500000000004</c:v>
                </c:pt>
                <c:pt idx="312">
                  <c:v>44.667500000000004</c:v>
                </c:pt>
                <c:pt idx="313">
                  <c:v>44.667500000000004</c:v>
                </c:pt>
                <c:pt idx="314">
                  <c:v>44.667500000000004</c:v>
                </c:pt>
                <c:pt idx="315">
                  <c:v>44.667500000000004</c:v>
                </c:pt>
                <c:pt idx="316">
                  <c:v>44.667500000000004</c:v>
                </c:pt>
                <c:pt idx="317">
                  <c:v>44.667500000000004</c:v>
                </c:pt>
                <c:pt idx="318">
                  <c:v>44.667500000000004</c:v>
                </c:pt>
                <c:pt idx="319">
                  <c:v>44.667500000000004</c:v>
                </c:pt>
                <c:pt idx="320">
                  <c:v>44.667500000000004</c:v>
                </c:pt>
                <c:pt idx="321">
                  <c:v>44.667500000000004</c:v>
                </c:pt>
                <c:pt idx="322">
                  <c:v>44.667500000000004</c:v>
                </c:pt>
                <c:pt idx="323">
                  <c:v>44.667500000000004</c:v>
                </c:pt>
                <c:pt idx="324">
                  <c:v>44.667500000000004</c:v>
                </c:pt>
                <c:pt idx="325">
                  <c:v>44.667500000000004</c:v>
                </c:pt>
                <c:pt idx="326">
                  <c:v>44.667500000000004</c:v>
                </c:pt>
                <c:pt idx="327">
                  <c:v>44.667500000000004</c:v>
                </c:pt>
                <c:pt idx="328">
                  <c:v>44.667500000000004</c:v>
                </c:pt>
                <c:pt idx="329">
                  <c:v>44.667500000000004</c:v>
                </c:pt>
                <c:pt idx="330">
                  <c:v>44.667500000000004</c:v>
                </c:pt>
                <c:pt idx="331">
                  <c:v>44.667500000000004</c:v>
                </c:pt>
                <c:pt idx="332">
                  <c:v>44.667500000000004</c:v>
                </c:pt>
                <c:pt idx="333">
                  <c:v>44.667500000000004</c:v>
                </c:pt>
                <c:pt idx="334">
                  <c:v>44.667500000000004</c:v>
                </c:pt>
                <c:pt idx="335">
                  <c:v>44.667500000000004</c:v>
                </c:pt>
                <c:pt idx="336">
                  <c:v>44.667500000000004</c:v>
                </c:pt>
                <c:pt idx="337">
                  <c:v>44.667500000000004</c:v>
                </c:pt>
                <c:pt idx="338">
                  <c:v>44.667500000000004</c:v>
                </c:pt>
                <c:pt idx="339">
                  <c:v>44.667500000000004</c:v>
                </c:pt>
                <c:pt idx="340">
                  <c:v>44.667500000000004</c:v>
                </c:pt>
                <c:pt idx="341">
                  <c:v>44.667500000000004</c:v>
                </c:pt>
                <c:pt idx="342">
                  <c:v>44.667500000000004</c:v>
                </c:pt>
                <c:pt idx="343">
                  <c:v>44.667500000000004</c:v>
                </c:pt>
                <c:pt idx="344">
                  <c:v>44.667500000000004</c:v>
                </c:pt>
                <c:pt idx="345">
                  <c:v>44.667500000000004</c:v>
                </c:pt>
                <c:pt idx="346">
                  <c:v>44.667500000000004</c:v>
                </c:pt>
                <c:pt idx="347">
                  <c:v>44.667500000000004</c:v>
                </c:pt>
                <c:pt idx="348">
                  <c:v>44.667500000000004</c:v>
                </c:pt>
                <c:pt idx="349">
                  <c:v>44.667500000000004</c:v>
                </c:pt>
                <c:pt idx="350">
                  <c:v>44.667500000000004</c:v>
                </c:pt>
                <c:pt idx="351">
                  <c:v>44.667500000000004</c:v>
                </c:pt>
                <c:pt idx="352">
                  <c:v>44.667500000000004</c:v>
                </c:pt>
                <c:pt idx="353">
                  <c:v>44.667500000000004</c:v>
                </c:pt>
                <c:pt idx="354">
                  <c:v>44.667500000000004</c:v>
                </c:pt>
                <c:pt idx="355">
                  <c:v>44.667500000000004</c:v>
                </c:pt>
                <c:pt idx="356">
                  <c:v>44.667500000000004</c:v>
                </c:pt>
                <c:pt idx="357">
                  <c:v>44.667500000000004</c:v>
                </c:pt>
                <c:pt idx="358">
                  <c:v>44.667500000000004</c:v>
                </c:pt>
                <c:pt idx="359">
                  <c:v>44.667500000000004</c:v>
                </c:pt>
                <c:pt idx="360">
                  <c:v>44.667500000000004</c:v>
                </c:pt>
                <c:pt idx="361">
                  <c:v>44.667500000000004</c:v>
                </c:pt>
                <c:pt idx="362">
                  <c:v>44.667500000000004</c:v>
                </c:pt>
                <c:pt idx="363">
                  <c:v>44.6675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8A6-4616-BB25-6C14A97268E5}"/>
            </c:ext>
          </c:extLst>
        </c:ser>
        <c:ser>
          <c:idx val="1"/>
          <c:order val="1"/>
          <c:tx>
            <c:v>APV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P$2:$P$365</c:f>
              <c:numCache>
                <c:formatCode>General</c:formatCode>
                <c:ptCount val="364"/>
                <c:pt idx="0">
                  <c:v>68.40100000000001</c:v>
                </c:pt>
                <c:pt idx="1">
                  <c:v>68.40100000000001</c:v>
                </c:pt>
                <c:pt idx="2">
                  <c:v>66.054700000000011</c:v>
                </c:pt>
                <c:pt idx="3">
                  <c:v>64.173900000000017</c:v>
                </c:pt>
                <c:pt idx="4">
                  <c:v>62.877300000000012</c:v>
                </c:pt>
                <c:pt idx="5">
                  <c:v>60.768900000000009</c:v>
                </c:pt>
                <c:pt idx="6">
                  <c:v>60.099900000000005</c:v>
                </c:pt>
                <c:pt idx="7">
                  <c:v>58.194000000000003</c:v>
                </c:pt>
                <c:pt idx="8">
                  <c:v>55.428600000000003</c:v>
                </c:pt>
                <c:pt idx="9">
                  <c:v>52.562000000000005</c:v>
                </c:pt>
                <c:pt idx="10">
                  <c:v>50.591100000000004</c:v>
                </c:pt>
                <c:pt idx="11">
                  <c:v>49.142200000000003</c:v>
                </c:pt>
                <c:pt idx="12">
                  <c:v>46.953100000000006</c:v>
                </c:pt>
                <c:pt idx="13">
                  <c:v>46.536100000000005</c:v>
                </c:pt>
                <c:pt idx="14">
                  <c:v>43.723300000000002</c:v>
                </c:pt>
                <c:pt idx="15">
                  <c:v>41.039200000000001</c:v>
                </c:pt>
                <c:pt idx="16">
                  <c:v>37.841300000000004</c:v>
                </c:pt>
                <c:pt idx="17">
                  <c:v>34.674500000000002</c:v>
                </c:pt>
                <c:pt idx="18">
                  <c:v>32.070500000000003</c:v>
                </c:pt>
                <c:pt idx="19">
                  <c:v>28.877500000000001</c:v>
                </c:pt>
                <c:pt idx="20">
                  <c:v>25.5139</c:v>
                </c:pt>
                <c:pt idx="21">
                  <c:v>22.303671655969943</c:v>
                </c:pt>
                <c:pt idx="22">
                  <c:v>29.597171655969944</c:v>
                </c:pt>
                <c:pt idx="23">
                  <c:v>38.807171655969945</c:v>
                </c:pt>
                <c:pt idx="24">
                  <c:v>54.539771655969943</c:v>
                </c:pt>
                <c:pt idx="25">
                  <c:v>62.574171655969934</c:v>
                </c:pt>
                <c:pt idx="26">
                  <c:v>62.716871655969932</c:v>
                </c:pt>
                <c:pt idx="27">
                  <c:v>61.823271655969933</c:v>
                </c:pt>
                <c:pt idx="28">
                  <c:v>63.564771655969935</c:v>
                </c:pt>
                <c:pt idx="29">
                  <c:v>57.645871655969934</c:v>
                </c:pt>
                <c:pt idx="30">
                  <c:v>52.376271655969937</c:v>
                </c:pt>
                <c:pt idx="31">
                  <c:v>49.488471655969938</c:v>
                </c:pt>
                <c:pt idx="32">
                  <c:v>43.587971655969938</c:v>
                </c:pt>
                <c:pt idx="33">
                  <c:v>37.242871655969935</c:v>
                </c:pt>
                <c:pt idx="34">
                  <c:v>30.743771655969937</c:v>
                </c:pt>
                <c:pt idx="35">
                  <c:v>26.871871655969937</c:v>
                </c:pt>
                <c:pt idx="36">
                  <c:v>19.183682285636664</c:v>
                </c:pt>
                <c:pt idx="37">
                  <c:v>27.537704507858887</c:v>
                </c:pt>
                <c:pt idx="38">
                  <c:v>19.057423294215212</c:v>
                </c:pt>
                <c:pt idx="39">
                  <c:v>16.413077301792207</c:v>
                </c:pt>
                <c:pt idx="40">
                  <c:v>25.11299952401443</c:v>
                </c:pt>
                <c:pt idx="41">
                  <c:v>17.651023127092181</c:v>
                </c:pt>
                <c:pt idx="42">
                  <c:v>25.117545349314405</c:v>
                </c:pt>
                <c:pt idx="43">
                  <c:v>18.108748939711731</c:v>
                </c:pt>
                <c:pt idx="44">
                  <c:v>27.386771161933954</c:v>
                </c:pt>
                <c:pt idx="45">
                  <c:v>18.999878997122309</c:v>
                </c:pt>
                <c:pt idx="46">
                  <c:v>27.323901219344531</c:v>
                </c:pt>
                <c:pt idx="47">
                  <c:v>19.819525430882283</c:v>
                </c:pt>
                <c:pt idx="48">
                  <c:v>28.376247653104503</c:v>
                </c:pt>
                <c:pt idx="49">
                  <c:v>20.357710233877285</c:v>
                </c:pt>
                <c:pt idx="50">
                  <c:v>16.783734304102985</c:v>
                </c:pt>
                <c:pt idx="51">
                  <c:v>26.384456526325209</c:v>
                </c:pt>
                <c:pt idx="52">
                  <c:v>17.53422084936134</c:v>
                </c:pt>
                <c:pt idx="53">
                  <c:v>27.898743071583564</c:v>
                </c:pt>
                <c:pt idx="54">
                  <c:v>20.993415664812844</c:v>
                </c:pt>
                <c:pt idx="55">
                  <c:v>30.343537887035065</c:v>
                </c:pt>
                <c:pt idx="56">
                  <c:v>24.716637887035066</c:v>
                </c:pt>
                <c:pt idx="57">
                  <c:v>17.330590581607161</c:v>
                </c:pt>
                <c:pt idx="58">
                  <c:v>26.016212803829383</c:v>
                </c:pt>
                <c:pt idx="59">
                  <c:v>19.18511700730512</c:v>
                </c:pt>
                <c:pt idx="60">
                  <c:v>17.023612116086888</c:v>
                </c:pt>
                <c:pt idx="61">
                  <c:v>27.421034338309113</c:v>
                </c:pt>
                <c:pt idx="62">
                  <c:v>21.512128361306715</c:v>
                </c:pt>
                <c:pt idx="63">
                  <c:v>16.531855172361759</c:v>
                </c:pt>
                <c:pt idx="64">
                  <c:v>16.69632092479717</c:v>
                </c:pt>
                <c:pt idx="65">
                  <c:v>26.563043147019393</c:v>
                </c:pt>
                <c:pt idx="66">
                  <c:v>21.641070348834788</c:v>
                </c:pt>
                <c:pt idx="67">
                  <c:v>17.384201162383313</c:v>
                </c:pt>
                <c:pt idx="68">
                  <c:v>28.214523384605542</c:v>
                </c:pt>
                <c:pt idx="69">
                  <c:v>25.162523384605542</c:v>
                </c:pt>
                <c:pt idx="70">
                  <c:v>20.864650645800211</c:v>
                </c:pt>
                <c:pt idx="71">
                  <c:v>20.720407179253954</c:v>
                </c:pt>
                <c:pt idx="72">
                  <c:v>16.081921033570552</c:v>
                </c:pt>
                <c:pt idx="73">
                  <c:v>16.303201930233254</c:v>
                </c:pt>
                <c:pt idx="74">
                  <c:v>26.627524152455479</c:v>
                </c:pt>
                <c:pt idx="75">
                  <c:v>19.091577842417699</c:v>
                </c:pt>
                <c:pt idx="76">
                  <c:v>23.692577842417698</c:v>
                </c:pt>
                <c:pt idx="77">
                  <c:v>40.321277842417693</c:v>
                </c:pt>
                <c:pt idx="78">
                  <c:v>36.42797784241769</c:v>
                </c:pt>
                <c:pt idx="79">
                  <c:v>32.772477842417686</c:v>
                </c:pt>
                <c:pt idx="80">
                  <c:v>30.00697784241769</c:v>
                </c:pt>
                <c:pt idx="81">
                  <c:v>50.093977842417694</c:v>
                </c:pt>
                <c:pt idx="82">
                  <c:v>52.265377842417692</c:v>
                </c:pt>
                <c:pt idx="83">
                  <c:v>48.680077842417688</c:v>
                </c:pt>
                <c:pt idx="84">
                  <c:v>44.795177842417687</c:v>
                </c:pt>
                <c:pt idx="85">
                  <c:v>42.585677842417688</c:v>
                </c:pt>
                <c:pt idx="86">
                  <c:v>68.40100000000001</c:v>
                </c:pt>
                <c:pt idx="87">
                  <c:v>68.40100000000001</c:v>
                </c:pt>
                <c:pt idx="88">
                  <c:v>66.060100000000006</c:v>
                </c:pt>
                <c:pt idx="89">
                  <c:v>62.872200000000007</c:v>
                </c:pt>
                <c:pt idx="90">
                  <c:v>59.987500000000011</c:v>
                </c:pt>
                <c:pt idx="91">
                  <c:v>57.204300000000011</c:v>
                </c:pt>
                <c:pt idx="92">
                  <c:v>53.775600000000011</c:v>
                </c:pt>
                <c:pt idx="93">
                  <c:v>50.197800000000015</c:v>
                </c:pt>
                <c:pt idx="94">
                  <c:v>46.269400000000019</c:v>
                </c:pt>
                <c:pt idx="95">
                  <c:v>44.311200000000014</c:v>
                </c:pt>
                <c:pt idx="96">
                  <c:v>53.147100000000009</c:v>
                </c:pt>
                <c:pt idx="97">
                  <c:v>53.147100000000009</c:v>
                </c:pt>
                <c:pt idx="98">
                  <c:v>53.147100000000009</c:v>
                </c:pt>
                <c:pt idx="99">
                  <c:v>53.147100000000009</c:v>
                </c:pt>
                <c:pt idx="100">
                  <c:v>53.147100000000009</c:v>
                </c:pt>
                <c:pt idx="101">
                  <c:v>53.147100000000009</c:v>
                </c:pt>
                <c:pt idx="102">
                  <c:v>53.147100000000009</c:v>
                </c:pt>
                <c:pt idx="103">
                  <c:v>53.147100000000009</c:v>
                </c:pt>
                <c:pt idx="104">
                  <c:v>53.147100000000009</c:v>
                </c:pt>
                <c:pt idx="105">
                  <c:v>53.147100000000009</c:v>
                </c:pt>
                <c:pt idx="106">
                  <c:v>53.147100000000009</c:v>
                </c:pt>
                <c:pt idx="107">
                  <c:v>53.147100000000009</c:v>
                </c:pt>
                <c:pt idx="108">
                  <c:v>53.147100000000009</c:v>
                </c:pt>
                <c:pt idx="109">
                  <c:v>53.147100000000009</c:v>
                </c:pt>
                <c:pt idx="110">
                  <c:v>53.147100000000009</c:v>
                </c:pt>
                <c:pt idx="111">
                  <c:v>53.147100000000009</c:v>
                </c:pt>
                <c:pt idx="112">
                  <c:v>53.147100000000009</c:v>
                </c:pt>
                <c:pt idx="113">
                  <c:v>53.147100000000009</c:v>
                </c:pt>
                <c:pt idx="114">
                  <c:v>53.147100000000009</c:v>
                </c:pt>
                <c:pt idx="115">
                  <c:v>53.147100000000009</c:v>
                </c:pt>
                <c:pt idx="116">
                  <c:v>53.147100000000009</c:v>
                </c:pt>
                <c:pt idx="117">
                  <c:v>53.147100000000009</c:v>
                </c:pt>
                <c:pt idx="118">
                  <c:v>53.147100000000009</c:v>
                </c:pt>
                <c:pt idx="119">
                  <c:v>53.147100000000009</c:v>
                </c:pt>
                <c:pt idx="120">
                  <c:v>53.147100000000009</c:v>
                </c:pt>
                <c:pt idx="121">
                  <c:v>53.147100000000009</c:v>
                </c:pt>
                <c:pt idx="122">
                  <c:v>53.147100000000009</c:v>
                </c:pt>
                <c:pt idx="123">
                  <c:v>53.147100000000009</c:v>
                </c:pt>
                <c:pt idx="124">
                  <c:v>53.147100000000009</c:v>
                </c:pt>
                <c:pt idx="125">
                  <c:v>53.147100000000009</c:v>
                </c:pt>
                <c:pt idx="126">
                  <c:v>53.147100000000009</c:v>
                </c:pt>
                <c:pt idx="127">
                  <c:v>53.147100000000009</c:v>
                </c:pt>
                <c:pt idx="128">
                  <c:v>53.147100000000009</c:v>
                </c:pt>
                <c:pt idx="129">
                  <c:v>53.147100000000009</c:v>
                </c:pt>
                <c:pt idx="130">
                  <c:v>53.147100000000009</c:v>
                </c:pt>
                <c:pt idx="131">
                  <c:v>53.147100000000009</c:v>
                </c:pt>
                <c:pt idx="132">
                  <c:v>53.147100000000009</c:v>
                </c:pt>
                <c:pt idx="133">
                  <c:v>53.147100000000009</c:v>
                </c:pt>
                <c:pt idx="134">
                  <c:v>53.147100000000009</c:v>
                </c:pt>
                <c:pt idx="135">
                  <c:v>53.147100000000009</c:v>
                </c:pt>
                <c:pt idx="136">
                  <c:v>53.147100000000009</c:v>
                </c:pt>
                <c:pt idx="137">
                  <c:v>53.147100000000009</c:v>
                </c:pt>
                <c:pt idx="138">
                  <c:v>53.147100000000009</c:v>
                </c:pt>
                <c:pt idx="139">
                  <c:v>53.147100000000009</c:v>
                </c:pt>
                <c:pt idx="140">
                  <c:v>53.147100000000009</c:v>
                </c:pt>
                <c:pt idx="141">
                  <c:v>53.147100000000009</c:v>
                </c:pt>
                <c:pt idx="142">
                  <c:v>53.147100000000009</c:v>
                </c:pt>
                <c:pt idx="143">
                  <c:v>53.147100000000009</c:v>
                </c:pt>
                <c:pt idx="144">
                  <c:v>53.147100000000009</c:v>
                </c:pt>
                <c:pt idx="145">
                  <c:v>53.147100000000009</c:v>
                </c:pt>
                <c:pt idx="146">
                  <c:v>53.147100000000009</c:v>
                </c:pt>
                <c:pt idx="147">
                  <c:v>53.147100000000009</c:v>
                </c:pt>
                <c:pt idx="148">
                  <c:v>53.147100000000009</c:v>
                </c:pt>
                <c:pt idx="149">
                  <c:v>53.147100000000009</c:v>
                </c:pt>
                <c:pt idx="150">
                  <c:v>53.147100000000009</c:v>
                </c:pt>
                <c:pt idx="151">
                  <c:v>53.147100000000009</c:v>
                </c:pt>
                <c:pt idx="152">
                  <c:v>53.147100000000009</c:v>
                </c:pt>
                <c:pt idx="153">
                  <c:v>53.147100000000009</c:v>
                </c:pt>
                <c:pt idx="154">
                  <c:v>53.147100000000009</c:v>
                </c:pt>
                <c:pt idx="155">
                  <c:v>53.147100000000009</c:v>
                </c:pt>
                <c:pt idx="156">
                  <c:v>53.147100000000009</c:v>
                </c:pt>
                <c:pt idx="157">
                  <c:v>53.147100000000009</c:v>
                </c:pt>
                <c:pt idx="158">
                  <c:v>53.147100000000009</c:v>
                </c:pt>
                <c:pt idx="159">
                  <c:v>53.147100000000009</c:v>
                </c:pt>
                <c:pt idx="160">
                  <c:v>53.147100000000009</c:v>
                </c:pt>
                <c:pt idx="161">
                  <c:v>53.147100000000009</c:v>
                </c:pt>
                <c:pt idx="162">
                  <c:v>53.147100000000009</c:v>
                </c:pt>
                <c:pt idx="163">
                  <c:v>53.147100000000009</c:v>
                </c:pt>
                <c:pt idx="164">
                  <c:v>53.147100000000009</c:v>
                </c:pt>
                <c:pt idx="165">
                  <c:v>53.147100000000009</c:v>
                </c:pt>
                <c:pt idx="166">
                  <c:v>53.147100000000009</c:v>
                </c:pt>
                <c:pt idx="167">
                  <c:v>53.147100000000009</c:v>
                </c:pt>
                <c:pt idx="168">
                  <c:v>53.147100000000009</c:v>
                </c:pt>
                <c:pt idx="169">
                  <c:v>53.147100000000009</c:v>
                </c:pt>
                <c:pt idx="170">
                  <c:v>53.147100000000009</c:v>
                </c:pt>
                <c:pt idx="171">
                  <c:v>53.147100000000009</c:v>
                </c:pt>
                <c:pt idx="172">
                  <c:v>53.147100000000009</c:v>
                </c:pt>
                <c:pt idx="173">
                  <c:v>53.147100000000009</c:v>
                </c:pt>
                <c:pt idx="174">
                  <c:v>53.147100000000009</c:v>
                </c:pt>
                <c:pt idx="175">
                  <c:v>53.147100000000009</c:v>
                </c:pt>
                <c:pt idx="176">
                  <c:v>53.147100000000009</c:v>
                </c:pt>
                <c:pt idx="177">
                  <c:v>53.147100000000009</c:v>
                </c:pt>
                <c:pt idx="178">
                  <c:v>53.147100000000009</c:v>
                </c:pt>
                <c:pt idx="179">
                  <c:v>53.147100000000009</c:v>
                </c:pt>
                <c:pt idx="180">
                  <c:v>53.147100000000009</c:v>
                </c:pt>
                <c:pt idx="181">
                  <c:v>53.147100000000009</c:v>
                </c:pt>
                <c:pt idx="182">
                  <c:v>53.147100000000009</c:v>
                </c:pt>
                <c:pt idx="183">
                  <c:v>53.147100000000009</c:v>
                </c:pt>
                <c:pt idx="184">
                  <c:v>53.147100000000009</c:v>
                </c:pt>
                <c:pt idx="185">
                  <c:v>53.147100000000009</c:v>
                </c:pt>
                <c:pt idx="186">
                  <c:v>53.147100000000009</c:v>
                </c:pt>
                <c:pt idx="187">
                  <c:v>53.147100000000009</c:v>
                </c:pt>
                <c:pt idx="188">
                  <c:v>53.147100000000009</c:v>
                </c:pt>
                <c:pt idx="189">
                  <c:v>53.147100000000009</c:v>
                </c:pt>
                <c:pt idx="190">
                  <c:v>53.147100000000009</c:v>
                </c:pt>
                <c:pt idx="191">
                  <c:v>53.147100000000009</c:v>
                </c:pt>
                <c:pt idx="192">
                  <c:v>53.147100000000009</c:v>
                </c:pt>
                <c:pt idx="193">
                  <c:v>53.147100000000009</c:v>
                </c:pt>
                <c:pt idx="194">
                  <c:v>53.147100000000009</c:v>
                </c:pt>
                <c:pt idx="195">
                  <c:v>53.147100000000009</c:v>
                </c:pt>
                <c:pt idx="196">
                  <c:v>53.147100000000009</c:v>
                </c:pt>
                <c:pt idx="197">
                  <c:v>53.147100000000009</c:v>
                </c:pt>
                <c:pt idx="198">
                  <c:v>53.147100000000009</c:v>
                </c:pt>
                <c:pt idx="199">
                  <c:v>53.147100000000009</c:v>
                </c:pt>
                <c:pt idx="200">
                  <c:v>53.147100000000009</c:v>
                </c:pt>
                <c:pt idx="201">
                  <c:v>53.147100000000009</c:v>
                </c:pt>
                <c:pt idx="202">
                  <c:v>53.147100000000009</c:v>
                </c:pt>
                <c:pt idx="203">
                  <c:v>53.147100000000009</c:v>
                </c:pt>
                <c:pt idx="204">
                  <c:v>53.147100000000009</c:v>
                </c:pt>
                <c:pt idx="205">
                  <c:v>53.147100000000009</c:v>
                </c:pt>
                <c:pt idx="206">
                  <c:v>53.147100000000009</c:v>
                </c:pt>
                <c:pt idx="207">
                  <c:v>53.147100000000009</c:v>
                </c:pt>
                <c:pt idx="208">
                  <c:v>53.147100000000009</c:v>
                </c:pt>
                <c:pt idx="209">
                  <c:v>53.147100000000009</c:v>
                </c:pt>
                <c:pt idx="210">
                  <c:v>53.147100000000009</c:v>
                </c:pt>
                <c:pt idx="211">
                  <c:v>53.147100000000009</c:v>
                </c:pt>
                <c:pt idx="212">
                  <c:v>53.147100000000009</c:v>
                </c:pt>
                <c:pt idx="213">
                  <c:v>53.147100000000009</c:v>
                </c:pt>
                <c:pt idx="214">
                  <c:v>53.147100000000009</c:v>
                </c:pt>
                <c:pt idx="215">
                  <c:v>53.147100000000009</c:v>
                </c:pt>
                <c:pt idx="216">
                  <c:v>53.147100000000009</c:v>
                </c:pt>
                <c:pt idx="217">
                  <c:v>53.147100000000009</c:v>
                </c:pt>
                <c:pt idx="218">
                  <c:v>53.147100000000009</c:v>
                </c:pt>
                <c:pt idx="219">
                  <c:v>53.147100000000009</c:v>
                </c:pt>
                <c:pt idx="220">
                  <c:v>53.147100000000009</c:v>
                </c:pt>
                <c:pt idx="221">
                  <c:v>53.147100000000009</c:v>
                </c:pt>
                <c:pt idx="222">
                  <c:v>53.147100000000009</c:v>
                </c:pt>
                <c:pt idx="223">
                  <c:v>53.147100000000009</c:v>
                </c:pt>
                <c:pt idx="224">
                  <c:v>53.147100000000009</c:v>
                </c:pt>
                <c:pt idx="225">
                  <c:v>53.147100000000009</c:v>
                </c:pt>
                <c:pt idx="226">
                  <c:v>53.147100000000009</c:v>
                </c:pt>
                <c:pt idx="227">
                  <c:v>53.147100000000009</c:v>
                </c:pt>
                <c:pt idx="228">
                  <c:v>53.147100000000009</c:v>
                </c:pt>
                <c:pt idx="229">
                  <c:v>53.147100000000009</c:v>
                </c:pt>
                <c:pt idx="230">
                  <c:v>53.147100000000009</c:v>
                </c:pt>
                <c:pt idx="231">
                  <c:v>53.147100000000009</c:v>
                </c:pt>
                <c:pt idx="232">
                  <c:v>53.147100000000009</c:v>
                </c:pt>
                <c:pt idx="233">
                  <c:v>53.147100000000009</c:v>
                </c:pt>
                <c:pt idx="234">
                  <c:v>53.147100000000009</c:v>
                </c:pt>
                <c:pt idx="235">
                  <c:v>53.147100000000009</c:v>
                </c:pt>
                <c:pt idx="236">
                  <c:v>53.147100000000009</c:v>
                </c:pt>
                <c:pt idx="237">
                  <c:v>53.147100000000009</c:v>
                </c:pt>
                <c:pt idx="238">
                  <c:v>53.147100000000009</c:v>
                </c:pt>
                <c:pt idx="239">
                  <c:v>53.147100000000009</c:v>
                </c:pt>
                <c:pt idx="240">
                  <c:v>53.147100000000009</c:v>
                </c:pt>
                <c:pt idx="241">
                  <c:v>53.147100000000009</c:v>
                </c:pt>
                <c:pt idx="242">
                  <c:v>53.147100000000009</c:v>
                </c:pt>
                <c:pt idx="243">
                  <c:v>53.147100000000009</c:v>
                </c:pt>
                <c:pt idx="244">
                  <c:v>53.147100000000009</c:v>
                </c:pt>
                <c:pt idx="245">
                  <c:v>53.147100000000009</c:v>
                </c:pt>
                <c:pt idx="246">
                  <c:v>53.147100000000009</c:v>
                </c:pt>
                <c:pt idx="247">
                  <c:v>53.147100000000009</c:v>
                </c:pt>
                <c:pt idx="248">
                  <c:v>53.147100000000009</c:v>
                </c:pt>
                <c:pt idx="249">
                  <c:v>53.147100000000009</c:v>
                </c:pt>
                <c:pt idx="250">
                  <c:v>53.147100000000009</c:v>
                </c:pt>
                <c:pt idx="251">
                  <c:v>53.147100000000009</c:v>
                </c:pt>
                <c:pt idx="252">
                  <c:v>53.147100000000009</c:v>
                </c:pt>
                <c:pt idx="253">
                  <c:v>53.147100000000009</c:v>
                </c:pt>
                <c:pt idx="254">
                  <c:v>53.147100000000009</c:v>
                </c:pt>
                <c:pt idx="255">
                  <c:v>53.147100000000009</c:v>
                </c:pt>
                <c:pt idx="256">
                  <c:v>53.147100000000009</c:v>
                </c:pt>
                <c:pt idx="257">
                  <c:v>53.147100000000009</c:v>
                </c:pt>
                <c:pt idx="258">
                  <c:v>53.147100000000009</c:v>
                </c:pt>
                <c:pt idx="259">
                  <c:v>53.147100000000009</c:v>
                </c:pt>
                <c:pt idx="260">
                  <c:v>53.147100000000009</c:v>
                </c:pt>
                <c:pt idx="261">
                  <c:v>53.147100000000009</c:v>
                </c:pt>
                <c:pt idx="262">
                  <c:v>53.147100000000009</c:v>
                </c:pt>
                <c:pt idx="263">
                  <c:v>53.147100000000009</c:v>
                </c:pt>
                <c:pt idx="264">
                  <c:v>53.147100000000009</c:v>
                </c:pt>
                <c:pt idx="265">
                  <c:v>53.147100000000009</c:v>
                </c:pt>
                <c:pt idx="266">
                  <c:v>53.147100000000009</c:v>
                </c:pt>
                <c:pt idx="267">
                  <c:v>53.147100000000009</c:v>
                </c:pt>
                <c:pt idx="268">
                  <c:v>53.147100000000009</c:v>
                </c:pt>
                <c:pt idx="269">
                  <c:v>53.147100000000009</c:v>
                </c:pt>
                <c:pt idx="270">
                  <c:v>53.147100000000009</c:v>
                </c:pt>
                <c:pt idx="271">
                  <c:v>53.147100000000009</c:v>
                </c:pt>
                <c:pt idx="272">
                  <c:v>53.147100000000009</c:v>
                </c:pt>
                <c:pt idx="273">
                  <c:v>53.147100000000009</c:v>
                </c:pt>
                <c:pt idx="274">
                  <c:v>53.147100000000009</c:v>
                </c:pt>
                <c:pt idx="275">
                  <c:v>53.147100000000009</c:v>
                </c:pt>
                <c:pt idx="276">
                  <c:v>53.147100000000009</c:v>
                </c:pt>
                <c:pt idx="277">
                  <c:v>53.147100000000009</c:v>
                </c:pt>
                <c:pt idx="278">
                  <c:v>53.147100000000009</c:v>
                </c:pt>
                <c:pt idx="279">
                  <c:v>53.147100000000009</c:v>
                </c:pt>
                <c:pt idx="280">
                  <c:v>53.147100000000009</c:v>
                </c:pt>
                <c:pt idx="281">
                  <c:v>53.147100000000009</c:v>
                </c:pt>
                <c:pt idx="282">
                  <c:v>53.147100000000009</c:v>
                </c:pt>
                <c:pt idx="283">
                  <c:v>53.147100000000009</c:v>
                </c:pt>
                <c:pt idx="284">
                  <c:v>53.147100000000009</c:v>
                </c:pt>
                <c:pt idx="285">
                  <c:v>53.147100000000009</c:v>
                </c:pt>
                <c:pt idx="286">
                  <c:v>53.147100000000009</c:v>
                </c:pt>
                <c:pt idx="287">
                  <c:v>53.147100000000009</c:v>
                </c:pt>
                <c:pt idx="288">
                  <c:v>53.147100000000009</c:v>
                </c:pt>
                <c:pt idx="289">
                  <c:v>53.147100000000009</c:v>
                </c:pt>
                <c:pt idx="290">
                  <c:v>53.147100000000009</c:v>
                </c:pt>
                <c:pt idx="291">
                  <c:v>53.147100000000009</c:v>
                </c:pt>
                <c:pt idx="292">
                  <c:v>53.147100000000009</c:v>
                </c:pt>
                <c:pt idx="293">
                  <c:v>53.147100000000009</c:v>
                </c:pt>
                <c:pt idx="294">
                  <c:v>53.147100000000009</c:v>
                </c:pt>
                <c:pt idx="295">
                  <c:v>53.147100000000009</c:v>
                </c:pt>
                <c:pt idx="296">
                  <c:v>53.147100000000009</c:v>
                </c:pt>
                <c:pt idx="297">
                  <c:v>53.147100000000009</c:v>
                </c:pt>
                <c:pt idx="298">
                  <c:v>53.147100000000009</c:v>
                </c:pt>
                <c:pt idx="299">
                  <c:v>53.147100000000009</c:v>
                </c:pt>
                <c:pt idx="300">
                  <c:v>53.147100000000009</c:v>
                </c:pt>
                <c:pt idx="301">
                  <c:v>53.147100000000009</c:v>
                </c:pt>
                <c:pt idx="302">
                  <c:v>53.147100000000009</c:v>
                </c:pt>
                <c:pt idx="303">
                  <c:v>53.147100000000009</c:v>
                </c:pt>
                <c:pt idx="304">
                  <c:v>53.147100000000009</c:v>
                </c:pt>
                <c:pt idx="305">
                  <c:v>53.147100000000009</c:v>
                </c:pt>
                <c:pt idx="306">
                  <c:v>53.147100000000009</c:v>
                </c:pt>
                <c:pt idx="307">
                  <c:v>53.147100000000009</c:v>
                </c:pt>
                <c:pt idx="308">
                  <c:v>53.147100000000009</c:v>
                </c:pt>
                <c:pt idx="309">
                  <c:v>53.147100000000009</c:v>
                </c:pt>
                <c:pt idx="310">
                  <c:v>53.147100000000009</c:v>
                </c:pt>
                <c:pt idx="311">
                  <c:v>53.147100000000009</c:v>
                </c:pt>
                <c:pt idx="312">
                  <c:v>53.147100000000009</c:v>
                </c:pt>
                <c:pt idx="313">
                  <c:v>53.147100000000009</c:v>
                </c:pt>
                <c:pt idx="314">
                  <c:v>53.147100000000009</c:v>
                </c:pt>
                <c:pt idx="315">
                  <c:v>53.147100000000009</c:v>
                </c:pt>
                <c:pt idx="316">
                  <c:v>53.147100000000009</c:v>
                </c:pt>
                <c:pt idx="317">
                  <c:v>53.147100000000009</c:v>
                </c:pt>
                <c:pt idx="318">
                  <c:v>53.147100000000009</c:v>
                </c:pt>
                <c:pt idx="319">
                  <c:v>53.147100000000009</c:v>
                </c:pt>
                <c:pt idx="320">
                  <c:v>53.147100000000009</c:v>
                </c:pt>
                <c:pt idx="321">
                  <c:v>53.147100000000009</c:v>
                </c:pt>
                <c:pt idx="322">
                  <c:v>53.147100000000009</c:v>
                </c:pt>
                <c:pt idx="323">
                  <c:v>53.147100000000009</c:v>
                </c:pt>
                <c:pt idx="324">
                  <c:v>53.147100000000009</c:v>
                </c:pt>
                <c:pt idx="325">
                  <c:v>53.147100000000009</c:v>
                </c:pt>
                <c:pt idx="326">
                  <c:v>53.147100000000009</c:v>
                </c:pt>
                <c:pt idx="327">
                  <c:v>53.147100000000009</c:v>
                </c:pt>
                <c:pt idx="328">
                  <c:v>53.147100000000009</c:v>
                </c:pt>
                <c:pt idx="329">
                  <c:v>53.147100000000009</c:v>
                </c:pt>
                <c:pt idx="330">
                  <c:v>53.147100000000009</c:v>
                </c:pt>
                <c:pt idx="331">
                  <c:v>53.147100000000009</c:v>
                </c:pt>
                <c:pt idx="332">
                  <c:v>53.147100000000009</c:v>
                </c:pt>
                <c:pt idx="333">
                  <c:v>53.147100000000009</c:v>
                </c:pt>
                <c:pt idx="334">
                  <c:v>53.147100000000009</c:v>
                </c:pt>
                <c:pt idx="335">
                  <c:v>53.147100000000009</c:v>
                </c:pt>
                <c:pt idx="336">
                  <c:v>53.147100000000009</c:v>
                </c:pt>
                <c:pt idx="337">
                  <c:v>53.147100000000009</c:v>
                </c:pt>
                <c:pt idx="338">
                  <c:v>53.147100000000009</c:v>
                </c:pt>
                <c:pt idx="339">
                  <c:v>53.147100000000009</c:v>
                </c:pt>
                <c:pt idx="340">
                  <c:v>53.147100000000009</c:v>
                </c:pt>
                <c:pt idx="341">
                  <c:v>53.147100000000009</c:v>
                </c:pt>
                <c:pt idx="342">
                  <c:v>53.147100000000009</c:v>
                </c:pt>
                <c:pt idx="343">
                  <c:v>53.147100000000009</c:v>
                </c:pt>
                <c:pt idx="344">
                  <c:v>53.147100000000009</c:v>
                </c:pt>
                <c:pt idx="345">
                  <c:v>53.147100000000009</c:v>
                </c:pt>
                <c:pt idx="346">
                  <c:v>53.147100000000009</c:v>
                </c:pt>
                <c:pt idx="347">
                  <c:v>53.147100000000009</c:v>
                </c:pt>
                <c:pt idx="348">
                  <c:v>53.147100000000009</c:v>
                </c:pt>
                <c:pt idx="349">
                  <c:v>53.147100000000009</c:v>
                </c:pt>
                <c:pt idx="350">
                  <c:v>53.147100000000009</c:v>
                </c:pt>
                <c:pt idx="351">
                  <c:v>53.147100000000009</c:v>
                </c:pt>
                <c:pt idx="352">
                  <c:v>53.147100000000009</c:v>
                </c:pt>
                <c:pt idx="353">
                  <c:v>53.147100000000009</c:v>
                </c:pt>
                <c:pt idx="354">
                  <c:v>53.147100000000009</c:v>
                </c:pt>
                <c:pt idx="355">
                  <c:v>53.147100000000009</c:v>
                </c:pt>
                <c:pt idx="356">
                  <c:v>53.147100000000009</c:v>
                </c:pt>
                <c:pt idx="357">
                  <c:v>53.147100000000009</c:v>
                </c:pt>
                <c:pt idx="358">
                  <c:v>53.147100000000009</c:v>
                </c:pt>
                <c:pt idx="359">
                  <c:v>53.147100000000009</c:v>
                </c:pt>
                <c:pt idx="360">
                  <c:v>53.147100000000009</c:v>
                </c:pt>
                <c:pt idx="361">
                  <c:v>53.147100000000009</c:v>
                </c:pt>
                <c:pt idx="362">
                  <c:v>53.147100000000009</c:v>
                </c:pt>
                <c:pt idx="363">
                  <c:v>53.147100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A6-4616-BB25-6C14A97268E5}"/>
            </c:ext>
          </c:extLst>
        </c:ser>
        <c:ser>
          <c:idx val="2"/>
          <c:order val="2"/>
          <c:tx>
            <c:v>capacité au champ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C$2:$C$361</c:f>
              <c:numCache>
                <c:formatCode>General</c:formatCode>
                <c:ptCount val="360"/>
                <c:pt idx="0">
                  <c:v>68.40100000000001</c:v>
                </c:pt>
                <c:pt idx="1">
                  <c:v>68.40100000000001</c:v>
                </c:pt>
                <c:pt idx="2">
                  <c:v>68.40100000000001</c:v>
                </c:pt>
                <c:pt idx="3">
                  <c:v>68.40100000000001</c:v>
                </c:pt>
                <c:pt idx="4">
                  <c:v>68.40100000000001</c:v>
                </c:pt>
                <c:pt idx="5">
                  <c:v>68.40100000000001</c:v>
                </c:pt>
                <c:pt idx="6">
                  <c:v>68.40100000000001</c:v>
                </c:pt>
                <c:pt idx="7">
                  <c:v>68.40100000000001</c:v>
                </c:pt>
                <c:pt idx="8">
                  <c:v>68.40100000000001</c:v>
                </c:pt>
                <c:pt idx="9">
                  <c:v>68.40100000000001</c:v>
                </c:pt>
                <c:pt idx="10">
                  <c:v>68.40100000000001</c:v>
                </c:pt>
                <c:pt idx="11">
                  <c:v>68.40100000000001</c:v>
                </c:pt>
                <c:pt idx="12">
                  <c:v>68.40100000000001</c:v>
                </c:pt>
                <c:pt idx="13">
                  <c:v>68.40100000000001</c:v>
                </c:pt>
                <c:pt idx="14">
                  <c:v>68.40100000000001</c:v>
                </c:pt>
                <c:pt idx="15">
                  <c:v>68.40100000000001</c:v>
                </c:pt>
                <c:pt idx="16">
                  <c:v>68.40100000000001</c:v>
                </c:pt>
                <c:pt idx="17">
                  <c:v>68.40100000000001</c:v>
                </c:pt>
                <c:pt idx="18">
                  <c:v>68.40100000000001</c:v>
                </c:pt>
                <c:pt idx="19">
                  <c:v>68.40100000000001</c:v>
                </c:pt>
                <c:pt idx="20">
                  <c:v>68.40100000000001</c:v>
                </c:pt>
                <c:pt idx="21">
                  <c:v>68.40100000000001</c:v>
                </c:pt>
                <c:pt idx="22">
                  <c:v>68.40100000000001</c:v>
                </c:pt>
                <c:pt idx="23">
                  <c:v>68.40100000000001</c:v>
                </c:pt>
                <c:pt idx="24">
                  <c:v>68.40100000000001</c:v>
                </c:pt>
                <c:pt idx="25">
                  <c:v>68.40100000000001</c:v>
                </c:pt>
                <c:pt idx="26">
                  <c:v>68.40100000000001</c:v>
                </c:pt>
                <c:pt idx="27">
                  <c:v>68.40100000000001</c:v>
                </c:pt>
                <c:pt idx="28">
                  <c:v>68.40100000000001</c:v>
                </c:pt>
                <c:pt idx="29">
                  <c:v>68.40100000000001</c:v>
                </c:pt>
                <c:pt idx="30">
                  <c:v>68.40100000000001</c:v>
                </c:pt>
                <c:pt idx="31">
                  <c:v>68.40100000000001</c:v>
                </c:pt>
                <c:pt idx="32">
                  <c:v>68.40100000000001</c:v>
                </c:pt>
                <c:pt idx="33">
                  <c:v>68.40100000000001</c:v>
                </c:pt>
                <c:pt idx="34">
                  <c:v>68.40100000000001</c:v>
                </c:pt>
                <c:pt idx="35">
                  <c:v>68.40100000000001</c:v>
                </c:pt>
                <c:pt idx="36">
                  <c:v>68.40100000000001</c:v>
                </c:pt>
                <c:pt idx="37">
                  <c:v>68.40100000000001</c:v>
                </c:pt>
                <c:pt idx="38">
                  <c:v>68.40100000000001</c:v>
                </c:pt>
                <c:pt idx="39">
                  <c:v>68.40100000000001</c:v>
                </c:pt>
                <c:pt idx="40">
                  <c:v>68.40100000000001</c:v>
                </c:pt>
                <c:pt idx="41">
                  <c:v>68.40100000000001</c:v>
                </c:pt>
                <c:pt idx="42">
                  <c:v>68.40100000000001</c:v>
                </c:pt>
                <c:pt idx="43">
                  <c:v>68.40100000000001</c:v>
                </c:pt>
                <c:pt idx="44">
                  <c:v>68.40100000000001</c:v>
                </c:pt>
                <c:pt idx="45">
                  <c:v>68.40100000000001</c:v>
                </c:pt>
                <c:pt idx="46">
                  <c:v>68.40100000000001</c:v>
                </c:pt>
                <c:pt idx="47">
                  <c:v>68.40100000000001</c:v>
                </c:pt>
                <c:pt idx="48">
                  <c:v>68.40100000000001</c:v>
                </c:pt>
                <c:pt idx="49">
                  <c:v>68.40100000000001</c:v>
                </c:pt>
                <c:pt idx="50">
                  <c:v>68.40100000000001</c:v>
                </c:pt>
                <c:pt idx="51">
                  <c:v>68.40100000000001</c:v>
                </c:pt>
                <c:pt idx="52">
                  <c:v>68.40100000000001</c:v>
                </c:pt>
                <c:pt idx="53">
                  <c:v>68.40100000000001</c:v>
                </c:pt>
                <c:pt idx="54">
                  <c:v>68.40100000000001</c:v>
                </c:pt>
                <c:pt idx="55">
                  <c:v>68.40100000000001</c:v>
                </c:pt>
                <c:pt idx="56">
                  <c:v>68.40100000000001</c:v>
                </c:pt>
                <c:pt idx="57">
                  <c:v>68.40100000000001</c:v>
                </c:pt>
                <c:pt idx="58">
                  <c:v>68.40100000000001</c:v>
                </c:pt>
                <c:pt idx="59">
                  <c:v>68.40100000000001</c:v>
                </c:pt>
                <c:pt idx="60">
                  <c:v>68.40100000000001</c:v>
                </c:pt>
                <c:pt idx="61">
                  <c:v>68.40100000000001</c:v>
                </c:pt>
                <c:pt idx="62">
                  <c:v>68.40100000000001</c:v>
                </c:pt>
                <c:pt idx="63">
                  <c:v>68.40100000000001</c:v>
                </c:pt>
                <c:pt idx="64">
                  <c:v>68.40100000000001</c:v>
                </c:pt>
                <c:pt idx="65">
                  <c:v>68.40100000000001</c:v>
                </c:pt>
                <c:pt idx="66">
                  <c:v>68.40100000000001</c:v>
                </c:pt>
                <c:pt idx="67">
                  <c:v>68.40100000000001</c:v>
                </c:pt>
                <c:pt idx="68">
                  <c:v>68.40100000000001</c:v>
                </c:pt>
                <c:pt idx="69">
                  <c:v>68.40100000000001</c:v>
                </c:pt>
                <c:pt idx="70">
                  <c:v>68.40100000000001</c:v>
                </c:pt>
                <c:pt idx="71">
                  <c:v>68.40100000000001</c:v>
                </c:pt>
                <c:pt idx="72">
                  <c:v>68.40100000000001</c:v>
                </c:pt>
                <c:pt idx="73">
                  <c:v>68.40100000000001</c:v>
                </c:pt>
                <c:pt idx="74">
                  <c:v>68.40100000000001</c:v>
                </c:pt>
                <c:pt idx="75">
                  <c:v>68.40100000000001</c:v>
                </c:pt>
                <c:pt idx="76">
                  <c:v>68.40100000000001</c:v>
                </c:pt>
                <c:pt idx="77">
                  <c:v>68.40100000000001</c:v>
                </c:pt>
                <c:pt idx="78">
                  <c:v>68.40100000000001</c:v>
                </c:pt>
                <c:pt idx="79">
                  <c:v>68.40100000000001</c:v>
                </c:pt>
                <c:pt idx="80">
                  <c:v>68.40100000000001</c:v>
                </c:pt>
                <c:pt idx="81">
                  <c:v>68.40100000000001</c:v>
                </c:pt>
                <c:pt idx="82">
                  <c:v>68.40100000000001</c:v>
                </c:pt>
                <c:pt idx="83">
                  <c:v>68.40100000000001</c:v>
                </c:pt>
                <c:pt idx="84">
                  <c:v>68.40100000000001</c:v>
                </c:pt>
                <c:pt idx="85">
                  <c:v>68.40100000000001</c:v>
                </c:pt>
                <c:pt idx="86">
                  <c:v>68.40100000000001</c:v>
                </c:pt>
                <c:pt idx="87">
                  <c:v>68.40100000000001</c:v>
                </c:pt>
                <c:pt idx="88">
                  <c:v>68.40100000000001</c:v>
                </c:pt>
                <c:pt idx="89">
                  <c:v>68.40100000000001</c:v>
                </c:pt>
                <c:pt idx="90">
                  <c:v>68.40100000000001</c:v>
                </c:pt>
                <c:pt idx="91">
                  <c:v>68.40100000000001</c:v>
                </c:pt>
                <c:pt idx="92">
                  <c:v>68.40100000000001</c:v>
                </c:pt>
                <c:pt idx="93">
                  <c:v>68.40100000000001</c:v>
                </c:pt>
                <c:pt idx="94">
                  <c:v>68.40100000000001</c:v>
                </c:pt>
                <c:pt idx="95">
                  <c:v>68.40100000000001</c:v>
                </c:pt>
                <c:pt idx="96">
                  <c:v>68.40100000000001</c:v>
                </c:pt>
                <c:pt idx="97">
                  <c:v>68.40100000000001</c:v>
                </c:pt>
                <c:pt idx="98">
                  <c:v>68.40100000000001</c:v>
                </c:pt>
                <c:pt idx="99">
                  <c:v>68.40100000000001</c:v>
                </c:pt>
                <c:pt idx="100">
                  <c:v>68.40100000000001</c:v>
                </c:pt>
                <c:pt idx="101">
                  <c:v>68.40100000000001</c:v>
                </c:pt>
                <c:pt idx="102">
                  <c:v>68.40100000000001</c:v>
                </c:pt>
                <c:pt idx="103">
                  <c:v>68.40100000000001</c:v>
                </c:pt>
                <c:pt idx="104">
                  <c:v>68.40100000000001</c:v>
                </c:pt>
                <c:pt idx="105">
                  <c:v>68.40100000000001</c:v>
                </c:pt>
                <c:pt idx="106">
                  <c:v>68.40100000000001</c:v>
                </c:pt>
                <c:pt idx="107">
                  <c:v>68.40100000000001</c:v>
                </c:pt>
                <c:pt idx="108">
                  <c:v>68.40100000000001</c:v>
                </c:pt>
                <c:pt idx="109">
                  <c:v>68.40100000000001</c:v>
                </c:pt>
                <c:pt idx="110">
                  <c:v>68.40100000000001</c:v>
                </c:pt>
                <c:pt idx="111">
                  <c:v>68.40100000000001</c:v>
                </c:pt>
                <c:pt idx="112">
                  <c:v>68.40100000000001</c:v>
                </c:pt>
                <c:pt idx="113">
                  <c:v>68.40100000000001</c:v>
                </c:pt>
                <c:pt idx="114">
                  <c:v>68.40100000000001</c:v>
                </c:pt>
                <c:pt idx="115">
                  <c:v>68.40100000000001</c:v>
                </c:pt>
                <c:pt idx="116">
                  <c:v>68.40100000000001</c:v>
                </c:pt>
                <c:pt idx="117">
                  <c:v>68.40100000000001</c:v>
                </c:pt>
                <c:pt idx="118">
                  <c:v>68.40100000000001</c:v>
                </c:pt>
                <c:pt idx="119">
                  <c:v>68.40100000000001</c:v>
                </c:pt>
                <c:pt idx="120">
                  <c:v>68.40100000000001</c:v>
                </c:pt>
                <c:pt idx="121">
                  <c:v>68.40100000000001</c:v>
                </c:pt>
                <c:pt idx="122">
                  <c:v>68.40100000000001</c:v>
                </c:pt>
                <c:pt idx="123">
                  <c:v>68.40100000000001</c:v>
                </c:pt>
                <c:pt idx="124">
                  <c:v>68.40100000000001</c:v>
                </c:pt>
                <c:pt idx="125">
                  <c:v>68.40100000000001</c:v>
                </c:pt>
                <c:pt idx="126">
                  <c:v>68.40100000000001</c:v>
                </c:pt>
                <c:pt idx="127">
                  <c:v>68.40100000000001</c:v>
                </c:pt>
                <c:pt idx="128">
                  <c:v>68.40100000000001</c:v>
                </c:pt>
                <c:pt idx="129">
                  <c:v>68.40100000000001</c:v>
                </c:pt>
                <c:pt idx="130">
                  <c:v>68.40100000000001</c:v>
                </c:pt>
                <c:pt idx="131">
                  <c:v>68.40100000000001</c:v>
                </c:pt>
                <c:pt idx="132">
                  <c:v>68.40100000000001</c:v>
                </c:pt>
                <c:pt idx="133">
                  <c:v>68.40100000000001</c:v>
                </c:pt>
                <c:pt idx="134">
                  <c:v>68.40100000000001</c:v>
                </c:pt>
                <c:pt idx="135">
                  <c:v>68.40100000000001</c:v>
                </c:pt>
                <c:pt idx="136">
                  <c:v>68.40100000000001</c:v>
                </c:pt>
                <c:pt idx="137">
                  <c:v>68.40100000000001</c:v>
                </c:pt>
                <c:pt idx="138">
                  <c:v>68.40100000000001</c:v>
                </c:pt>
                <c:pt idx="139">
                  <c:v>68.40100000000001</c:v>
                </c:pt>
                <c:pt idx="140">
                  <c:v>68.40100000000001</c:v>
                </c:pt>
                <c:pt idx="141">
                  <c:v>68.40100000000001</c:v>
                </c:pt>
                <c:pt idx="142">
                  <c:v>68.40100000000001</c:v>
                </c:pt>
                <c:pt idx="143">
                  <c:v>68.40100000000001</c:v>
                </c:pt>
                <c:pt idx="144">
                  <c:v>68.40100000000001</c:v>
                </c:pt>
                <c:pt idx="145">
                  <c:v>68.40100000000001</c:v>
                </c:pt>
                <c:pt idx="146">
                  <c:v>68.40100000000001</c:v>
                </c:pt>
                <c:pt idx="147">
                  <c:v>68.40100000000001</c:v>
                </c:pt>
                <c:pt idx="148">
                  <c:v>68.40100000000001</c:v>
                </c:pt>
                <c:pt idx="149">
                  <c:v>68.40100000000001</c:v>
                </c:pt>
                <c:pt idx="150">
                  <c:v>68.40100000000001</c:v>
                </c:pt>
                <c:pt idx="151">
                  <c:v>68.40100000000001</c:v>
                </c:pt>
                <c:pt idx="152">
                  <c:v>68.40100000000001</c:v>
                </c:pt>
                <c:pt idx="153">
                  <c:v>68.40100000000001</c:v>
                </c:pt>
                <c:pt idx="154">
                  <c:v>68.40100000000001</c:v>
                </c:pt>
                <c:pt idx="155">
                  <c:v>68.40100000000001</c:v>
                </c:pt>
                <c:pt idx="156">
                  <c:v>68.40100000000001</c:v>
                </c:pt>
                <c:pt idx="157">
                  <c:v>68.40100000000001</c:v>
                </c:pt>
                <c:pt idx="158">
                  <c:v>68.40100000000001</c:v>
                </c:pt>
                <c:pt idx="159">
                  <c:v>68.40100000000001</c:v>
                </c:pt>
                <c:pt idx="160">
                  <c:v>68.40100000000001</c:v>
                </c:pt>
                <c:pt idx="161">
                  <c:v>68.40100000000001</c:v>
                </c:pt>
                <c:pt idx="162">
                  <c:v>68.40100000000001</c:v>
                </c:pt>
                <c:pt idx="163">
                  <c:v>68.40100000000001</c:v>
                </c:pt>
                <c:pt idx="164">
                  <c:v>68.40100000000001</c:v>
                </c:pt>
                <c:pt idx="165">
                  <c:v>68.40100000000001</c:v>
                </c:pt>
                <c:pt idx="166">
                  <c:v>68.40100000000001</c:v>
                </c:pt>
                <c:pt idx="167">
                  <c:v>68.40100000000001</c:v>
                </c:pt>
                <c:pt idx="168">
                  <c:v>68.40100000000001</c:v>
                </c:pt>
                <c:pt idx="169">
                  <c:v>68.40100000000001</c:v>
                </c:pt>
                <c:pt idx="170">
                  <c:v>68.40100000000001</c:v>
                </c:pt>
                <c:pt idx="171">
                  <c:v>68.40100000000001</c:v>
                </c:pt>
                <c:pt idx="172">
                  <c:v>68.40100000000001</c:v>
                </c:pt>
                <c:pt idx="173">
                  <c:v>68.40100000000001</c:v>
                </c:pt>
                <c:pt idx="174">
                  <c:v>68.40100000000001</c:v>
                </c:pt>
                <c:pt idx="175">
                  <c:v>68.40100000000001</c:v>
                </c:pt>
                <c:pt idx="176">
                  <c:v>68.40100000000001</c:v>
                </c:pt>
                <c:pt idx="177">
                  <c:v>68.40100000000001</c:v>
                </c:pt>
                <c:pt idx="178">
                  <c:v>68.40100000000001</c:v>
                </c:pt>
                <c:pt idx="179">
                  <c:v>68.40100000000001</c:v>
                </c:pt>
                <c:pt idx="180">
                  <c:v>68.40100000000001</c:v>
                </c:pt>
                <c:pt idx="181">
                  <c:v>68.40100000000001</c:v>
                </c:pt>
                <c:pt idx="182">
                  <c:v>68.40100000000001</c:v>
                </c:pt>
                <c:pt idx="183">
                  <c:v>68.40100000000001</c:v>
                </c:pt>
                <c:pt idx="184">
                  <c:v>68.40100000000001</c:v>
                </c:pt>
                <c:pt idx="185">
                  <c:v>68.40100000000001</c:v>
                </c:pt>
                <c:pt idx="186">
                  <c:v>68.40100000000001</c:v>
                </c:pt>
                <c:pt idx="187">
                  <c:v>68.40100000000001</c:v>
                </c:pt>
                <c:pt idx="188">
                  <c:v>68.40100000000001</c:v>
                </c:pt>
                <c:pt idx="189">
                  <c:v>68.40100000000001</c:v>
                </c:pt>
                <c:pt idx="190">
                  <c:v>68.40100000000001</c:v>
                </c:pt>
                <c:pt idx="191">
                  <c:v>68.40100000000001</c:v>
                </c:pt>
                <c:pt idx="192">
                  <c:v>68.40100000000001</c:v>
                </c:pt>
                <c:pt idx="193">
                  <c:v>68.40100000000001</c:v>
                </c:pt>
                <c:pt idx="194">
                  <c:v>68.40100000000001</c:v>
                </c:pt>
                <c:pt idx="195">
                  <c:v>68.40100000000001</c:v>
                </c:pt>
                <c:pt idx="196">
                  <c:v>68.40100000000001</c:v>
                </c:pt>
                <c:pt idx="197">
                  <c:v>68.40100000000001</c:v>
                </c:pt>
                <c:pt idx="198">
                  <c:v>68.40100000000001</c:v>
                </c:pt>
                <c:pt idx="199">
                  <c:v>68.40100000000001</c:v>
                </c:pt>
                <c:pt idx="200">
                  <c:v>68.40100000000001</c:v>
                </c:pt>
                <c:pt idx="201">
                  <c:v>68.40100000000001</c:v>
                </c:pt>
                <c:pt idx="202">
                  <c:v>68.40100000000001</c:v>
                </c:pt>
                <c:pt idx="203">
                  <c:v>68.40100000000001</c:v>
                </c:pt>
                <c:pt idx="204">
                  <c:v>68.40100000000001</c:v>
                </c:pt>
                <c:pt idx="205">
                  <c:v>68.40100000000001</c:v>
                </c:pt>
                <c:pt idx="206">
                  <c:v>68.40100000000001</c:v>
                </c:pt>
                <c:pt idx="207">
                  <c:v>68.40100000000001</c:v>
                </c:pt>
                <c:pt idx="208">
                  <c:v>68.40100000000001</c:v>
                </c:pt>
                <c:pt idx="209">
                  <c:v>68.40100000000001</c:v>
                </c:pt>
                <c:pt idx="210">
                  <c:v>68.40100000000001</c:v>
                </c:pt>
                <c:pt idx="211">
                  <c:v>68.40100000000001</c:v>
                </c:pt>
                <c:pt idx="212">
                  <c:v>68.40100000000001</c:v>
                </c:pt>
                <c:pt idx="213">
                  <c:v>68.40100000000001</c:v>
                </c:pt>
                <c:pt idx="214">
                  <c:v>68.40100000000001</c:v>
                </c:pt>
                <c:pt idx="215">
                  <c:v>68.40100000000001</c:v>
                </c:pt>
                <c:pt idx="216">
                  <c:v>68.40100000000001</c:v>
                </c:pt>
                <c:pt idx="217">
                  <c:v>68.40100000000001</c:v>
                </c:pt>
                <c:pt idx="218">
                  <c:v>68.40100000000001</c:v>
                </c:pt>
                <c:pt idx="219">
                  <c:v>68.40100000000001</c:v>
                </c:pt>
                <c:pt idx="220">
                  <c:v>68.40100000000001</c:v>
                </c:pt>
                <c:pt idx="221">
                  <c:v>68.40100000000001</c:v>
                </c:pt>
                <c:pt idx="222">
                  <c:v>68.40100000000001</c:v>
                </c:pt>
                <c:pt idx="223">
                  <c:v>68.40100000000001</c:v>
                </c:pt>
                <c:pt idx="224">
                  <c:v>68.40100000000001</c:v>
                </c:pt>
                <c:pt idx="225">
                  <c:v>68.40100000000001</c:v>
                </c:pt>
                <c:pt idx="226">
                  <c:v>68.40100000000001</c:v>
                </c:pt>
                <c:pt idx="227">
                  <c:v>68.40100000000001</c:v>
                </c:pt>
                <c:pt idx="228">
                  <c:v>68.40100000000001</c:v>
                </c:pt>
                <c:pt idx="229">
                  <c:v>68.40100000000001</c:v>
                </c:pt>
                <c:pt idx="230">
                  <c:v>68.40100000000001</c:v>
                </c:pt>
                <c:pt idx="231">
                  <c:v>68.40100000000001</c:v>
                </c:pt>
                <c:pt idx="232">
                  <c:v>68.40100000000001</c:v>
                </c:pt>
                <c:pt idx="233">
                  <c:v>68.40100000000001</c:v>
                </c:pt>
                <c:pt idx="234">
                  <c:v>68.40100000000001</c:v>
                </c:pt>
                <c:pt idx="235">
                  <c:v>68.40100000000001</c:v>
                </c:pt>
                <c:pt idx="236">
                  <c:v>68.40100000000001</c:v>
                </c:pt>
                <c:pt idx="237">
                  <c:v>68.40100000000001</c:v>
                </c:pt>
                <c:pt idx="238">
                  <c:v>68.40100000000001</c:v>
                </c:pt>
                <c:pt idx="239">
                  <c:v>68.40100000000001</c:v>
                </c:pt>
                <c:pt idx="240">
                  <c:v>68.40100000000001</c:v>
                </c:pt>
                <c:pt idx="241">
                  <c:v>68.40100000000001</c:v>
                </c:pt>
                <c:pt idx="242">
                  <c:v>68.40100000000001</c:v>
                </c:pt>
                <c:pt idx="243">
                  <c:v>68.40100000000001</c:v>
                </c:pt>
                <c:pt idx="244">
                  <c:v>68.40100000000001</c:v>
                </c:pt>
                <c:pt idx="245">
                  <c:v>68.40100000000001</c:v>
                </c:pt>
                <c:pt idx="246">
                  <c:v>68.40100000000001</c:v>
                </c:pt>
                <c:pt idx="247">
                  <c:v>68.40100000000001</c:v>
                </c:pt>
                <c:pt idx="248">
                  <c:v>68.40100000000001</c:v>
                </c:pt>
                <c:pt idx="249">
                  <c:v>68.40100000000001</c:v>
                </c:pt>
                <c:pt idx="250">
                  <c:v>68.40100000000001</c:v>
                </c:pt>
                <c:pt idx="251">
                  <c:v>68.40100000000001</c:v>
                </c:pt>
                <c:pt idx="252">
                  <c:v>68.40100000000001</c:v>
                </c:pt>
                <c:pt idx="253">
                  <c:v>68.40100000000001</c:v>
                </c:pt>
                <c:pt idx="254">
                  <c:v>68.40100000000001</c:v>
                </c:pt>
                <c:pt idx="255">
                  <c:v>68.40100000000001</c:v>
                </c:pt>
                <c:pt idx="256">
                  <c:v>68.40100000000001</c:v>
                </c:pt>
                <c:pt idx="257">
                  <c:v>68.40100000000001</c:v>
                </c:pt>
                <c:pt idx="258">
                  <c:v>68.40100000000001</c:v>
                </c:pt>
                <c:pt idx="259">
                  <c:v>68.40100000000001</c:v>
                </c:pt>
                <c:pt idx="260">
                  <c:v>68.40100000000001</c:v>
                </c:pt>
                <c:pt idx="261">
                  <c:v>68.40100000000001</c:v>
                </c:pt>
                <c:pt idx="262">
                  <c:v>68.40100000000001</c:v>
                </c:pt>
                <c:pt idx="263">
                  <c:v>68.40100000000001</c:v>
                </c:pt>
                <c:pt idx="264">
                  <c:v>68.40100000000001</c:v>
                </c:pt>
                <c:pt idx="265">
                  <c:v>68.40100000000001</c:v>
                </c:pt>
                <c:pt idx="266">
                  <c:v>68.40100000000001</c:v>
                </c:pt>
                <c:pt idx="267">
                  <c:v>68.40100000000001</c:v>
                </c:pt>
                <c:pt idx="268">
                  <c:v>68.40100000000001</c:v>
                </c:pt>
                <c:pt idx="269">
                  <c:v>68.40100000000001</c:v>
                </c:pt>
                <c:pt idx="270">
                  <c:v>68.40100000000001</c:v>
                </c:pt>
                <c:pt idx="271">
                  <c:v>68.40100000000001</c:v>
                </c:pt>
                <c:pt idx="272">
                  <c:v>68.40100000000001</c:v>
                </c:pt>
                <c:pt idx="273">
                  <c:v>68.40100000000001</c:v>
                </c:pt>
                <c:pt idx="274">
                  <c:v>68.40100000000001</c:v>
                </c:pt>
                <c:pt idx="275">
                  <c:v>68.40100000000001</c:v>
                </c:pt>
                <c:pt idx="276">
                  <c:v>68.40100000000001</c:v>
                </c:pt>
                <c:pt idx="277">
                  <c:v>68.40100000000001</c:v>
                </c:pt>
                <c:pt idx="278">
                  <c:v>68.40100000000001</c:v>
                </c:pt>
                <c:pt idx="279">
                  <c:v>68.40100000000001</c:v>
                </c:pt>
                <c:pt idx="280">
                  <c:v>68.40100000000001</c:v>
                </c:pt>
                <c:pt idx="281">
                  <c:v>68.40100000000001</c:v>
                </c:pt>
                <c:pt idx="282">
                  <c:v>68.40100000000001</c:v>
                </c:pt>
                <c:pt idx="283">
                  <c:v>68.40100000000001</c:v>
                </c:pt>
                <c:pt idx="284">
                  <c:v>68.40100000000001</c:v>
                </c:pt>
                <c:pt idx="285">
                  <c:v>68.40100000000001</c:v>
                </c:pt>
                <c:pt idx="286">
                  <c:v>68.40100000000001</c:v>
                </c:pt>
                <c:pt idx="287">
                  <c:v>68.40100000000001</c:v>
                </c:pt>
                <c:pt idx="288">
                  <c:v>68.40100000000001</c:v>
                </c:pt>
                <c:pt idx="289">
                  <c:v>68.40100000000001</c:v>
                </c:pt>
                <c:pt idx="290">
                  <c:v>68.40100000000001</c:v>
                </c:pt>
                <c:pt idx="291">
                  <c:v>68.40100000000001</c:v>
                </c:pt>
                <c:pt idx="292">
                  <c:v>68.40100000000001</c:v>
                </c:pt>
                <c:pt idx="293">
                  <c:v>68.40100000000001</c:v>
                </c:pt>
                <c:pt idx="294">
                  <c:v>68.40100000000001</c:v>
                </c:pt>
                <c:pt idx="295">
                  <c:v>68.40100000000001</c:v>
                </c:pt>
                <c:pt idx="296">
                  <c:v>68.40100000000001</c:v>
                </c:pt>
                <c:pt idx="297">
                  <c:v>68.40100000000001</c:v>
                </c:pt>
                <c:pt idx="298">
                  <c:v>68.40100000000001</c:v>
                </c:pt>
                <c:pt idx="299">
                  <c:v>68.40100000000001</c:v>
                </c:pt>
                <c:pt idx="300">
                  <c:v>68.40100000000001</c:v>
                </c:pt>
                <c:pt idx="301">
                  <c:v>68.40100000000001</c:v>
                </c:pt>
                <c:pt idx="302">
                  <c:v>68.40100000000001</c:v>
                </c:pt>
                <c:pt idx="303">
                  <c:v>68.40100000000001</c:v>
                </c:pt>
                <c:pt idx="304">
                  <c:v>68.40100000000001</c:v>
                </c:pt>
                <c:pt idx="305">
                  <c:v>68.40100000000001</c:v>
                </c:pt>
                <c:pt idx="306">
                  <c:v>68.40100000000001</c:v>
                </c:pt>
                <c:pt idx="307">
                  <c:v>68.40100000000001</c:v>
                </c:pt>
                <c:pt idx="308">
                  <c:v>68.40100000000001</c:v>
                </c:pt>
                <c:pt idx="309">
                  <c:v>68.40100000000001</c:v>
                </c:pt>
                <c:pt idx="310">
                  <c:v>68.40100000000001</c:v>
                </c:pt>
                <c:pt idx="311">
                  <c:v>68.40100000000001</c:v>
                </c:pt>
                <c:pt idx="312">
                  <c:v>68.40100000000001</c:v>
                </c:pt>
                <c:pt idx="313">
                  <c:v>68.40100000000001</c:v>
                </c:pt>
                <c:pt idx="314">
                  <c:v>68.40100000000001</c:v>
                </c:pt>
                <c:pt idx="315">
                  <c:v>68.40100000000001</c:v>
                </c:pt>
                <c:pt idx="316">
                  <c:v>68.40100000000001</c:v>
                </c:pt>
                <c:pt idx="317">
                  <c:v>68.40100000000001</c:v>
                </c:pt>
                <c:pt idx="318">
                  <c:v>68.40100000000001</c:v>
                </c:pt>
                <c:pt idx="319">
                  <c:v>68.40100000000001</c:v>
                </c:pt>
                <c:pt idx="320">
                  <c:v>68.40100000000001</c:v>
                </c:pt>
                <c:pt idx="321">
                  <c:v>68.40100000000001</c:v>
                </c:pt>
                <c:pt idx="322">
                  <c:v>68.40100000000001</c:v>
                </c:pt>
                <c:pt idx="323">
                  <c:v>68.40100000000001</c:v>
                </c:pt>
                <c:pt idx="324">
                  <c:v>68.40100000000001</c:v>
                </c:pt>
                <c:pt idx="325">
                  <c:v>68.40100000000001</c:v>
                </c:pt>
                <c:pt idx="326">
                  <c:v>68.40100000000001</c:v>
                </c:pt>
                <c:pt idx="327">
                  <c:v>68.40100000000001</c:v>
                </c:pt>
                <c:pt idx="328">
                  <c:v>68.40100000000001</c:v>
                </c:pt>
                <c:pt idx="329">
                  <c:v>68.40100000000001</c:v>
                </c:pt>
                <c:pt idx="330">
                  <c:v>68.40100000000001</c:v>
                </c:pt>
                <c:pt idx="331">
                  <c:v>68.40100000000001</c:v>
                </c:pt>
                <c:pt idx="332">
                  <c:v>68.40100000000001</c:v>
                </c:pt>
                <c:pt idx="333">
                  <c:v>68.40100000000001</c:v>
                </c:pt>
                <c:pt idx="334">
                  <c:v>68.40100000000001</c:v>
                </c:pt>
                <c:pt idx="335">
                  <c:v>68.40100000000001</c:v>
                </c:pt>
                <c:pt idx="336">
                  <c:v>68.40100000000001</c:v>
                </c:pt>
                <c:pt idx="337">
                  <c:v>68.40100000000001</c:v>
                </c:pt>
                <c:pt idx="338">
                  <c:v>68.40100000000001</c:v>
                </c:pt>
                <c:pt idx="339">
                  <c:v>68.40100000000001</c:v>
                </c:pt>
                <c:pt idx="340">
                  <c:v>68.40100000000001</c:v>
                </c:pt>
                <c:pt idx="341">
                  <c:v>68.40100000000001</c:v>
                </c:pt>
                <c:pt idx="342">
                  <c:v>68.40100000000001</c:v>
                </c:pt>
                <c:pt idx="343">
                  <c:v>68.40100000000001</c:v>
                </c:pt>
                <c:pt idx="344">
                  <c:v>68.40100000000001</c:v>
                </c:pt>
                <c:pt idx="345">
                  <c:v>68.40100000000001</c:v>
                </c:pt>
                <c:pt idx="346">
                  <c:v>68.40100000000001</c:v>
                </c:pt>
                <c:pt idx="347">
                  <c:v>68.40100000000001</c:v>
                </c:pt>
                <c:pt idx="348">
                  <c:v>68.40100000000001</c:v>
                </c:pt>
                <c:pt idx="349">
                  <c:v>68.40100000000001</c:v>
                </c:pt>
                <c:pt idx="350">
                  <c:v>68.40100000000001</c:v>
                </c:pt>
                <c:pt idx="351">
                  <c:v>68.40100000000001</c:v>
                </c:pt>
                <c:pt idx="352">
                  <c:v>68.40100000000001</c:v>
                </c:pt>
                <c:pt idx="353">
                  <c:v>68.40100000000001</c:v>
                </c:pt>
                <c:pt idx="354">
                  <c:v>68.40100000000001</c:v>
                </c:pt>
                <c:pt idx="355">
                  <c:v>68.40100000000001</c:v>
                </c:pt>
                <c:pt idx="356">
                  <c:v>68.40100000000001</c:v>
                </c:pt>
                <c:pt idx="357">
                  <c:v>68.40100000000001</c:v>
                </c:pt>
                <c:pt idx="358">
                  <c:v>68.40100000000001</c:v>
                </c:pt>
                <c:pt idx="359">
                  <c:v>68.401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8A6-4616-BB25-6C14A97268E5}"/>
            </c:ext>
          </c:extLst>
        </c:ser>
        <c:ser>
          <c:idx val="3"/>
          <c:order val="3"/>
          <c:tx>
            <c:v>point de flétrissement temporaire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D$2:$D$361</c:f>
              <c:numCache>
                <c:formatCode>General</c:formatCode>
                <c:ptCount val="360"/>
                <c:pt idx="0">
                  <c:v>22.800333333333334</c:v>
                </c:pt>
                <c:pt idx="1">
                  <c:v>22.800333333333334</c:v>
                </c:pt>
                <c:pt idx="2">
                  <c:v>22.800333333333334</c:v>
                </c:pt>
                <c:pt idx="3">
                  <c:v>22.800333333333334</c:v>
                </c:pt>
                <c:pt idx="4">
                  <c:v>22.800333333333334</c:v>
                </c:pt>
                <c:pt idx="5">
                  <c:v>22.800333333333334</c:v>
                </c:pt>
                <c:pt idx="6">
                  <c:v>22.800333333333334</c:v>
                </c:pt>
                <c:pt idx="7">
                  <c:v>22.800333333333334</c:v>
                </c:pt>
                <c:pt idx="8">
                  <c:v>22.800333333333334</c:v>
                </c:pt>
                <c:pt idx="9">
                  <c:v>22.800333333333334</c:v>
                </c:pt>
                <c:pt idx="10">
                  <c:v>22.800333333333334</c:v>
                </c:pt>
                <c:pt idx="11">
                  <c:v>22.800333333333334</c:v>
                </c:pt>
                <c:pt idx="12">
                  <c:v>22.800333333333334</c:v>
                </c:pt>
                <c:pt idx="13">
                  <c:v>22.800333333333334</c:v>
                </c:pt>
                <c:pt idx="14">
                  <c:v>22.800333333333334</c:v>
                </c:pt>
                <c:pt idx="15">
                  <c:v>22.800333333333334</c:v>
                </c:pt>
                <c:pt idx="16">
                  <c:v>22.800333333333334</c:v>
                </c:pt>
                <c:pt idx="17">
                  <c:v>22.800333333333334</c:v>
                </c:pt>
                <c:pt idx="18">
                  <c:v>22.800333333333334</c:v>
                </c:pt>
                <c:pt idx="19">
                  <c:v>22.800333333333334</c:v>
                </c:pt>
                <c:pt idx="20">
                  <c:v>22.800333333333334</c:v>
                </c:pt>
                <c:pt idx="21">
                  <c:v>22.800333333333334</c:v>
                </c:pt>
                <c:pt idx="22">
                  <c:v>22.800333333333334</c:v>
                </c:pt>
                <c:pt idx="23">
                  <c:v>22.800333333333334</c:v>
                </c:pt>
                <c:pt idx="24">
                  <c:v>22.800333333333334</c:v>
                </c:pt>
                <c:pt idx="25">
                  <c:v>22.800333333333334</c:v>
                </c:pt>
                <c:pt idx="26">
                  <c:v>22.800333333333334</c:v>
                </c:pt>
                <c:pt idx="27">
                  <c:v>22.800333333333334</c:v>
                </c:pt>
                <c:pt idx="28">
                  <c:v>22.800333333333334</c:v>
                </c:pt>
                <c:pt idx="29">
                  <c:v>22.800333333333334</c:v>
                </c:pt>
                <c:pt idx="30">
                  <c:v>22.800333333333334</c:v>
                </c:pt>
                <c:pt idx="31">
                  <c:v>22.800333333333334</c:v>
                </c:pt>
                <c:pt idx="32">
                  <c:v>22.800333333333334</c:v>
                </c:pt>
                <c:pt idx="33">
                  <c:v>22.800333333333334</c:v>
                </c:pt>
                <c:pt idx="34">
                  <c:v>22.800333333333334</c:v>
                </c:pt>
                <c:pt idx="35">
                  <c:v>22.800333333333334</c:v>
                </c:pt>
                <c:pt idx="36">
                  <c:v>22.800333333333334</c:v>
                </c:pt>
                <c:pt idx="37">
                  <c:v>22.800333333333334</c:v>
                </c:pt>
                <c:pt idx="38">
                  <c:v>22.800333333333334</c:v>
                </c:pt>
                <c:pt idx="39">
                  <c:v>22.800333333333334</c:v>
                </c:pt>
                <c:pt idx="40">
                  <c:v>22.800333333333334</c:v>
                </c:pt>
                <c:pt idx="41">
                  <c:v>22.800333333333334</c:v>
                </c:pt>
                <c:pt idx="42">
                  <c:v>22.800333333333334</c:v>
                </c:pt>
                <c:pt idx="43">
                  <c:v>22.800333333333334</c:v>
                </c:pt>
                <c:pt idx="44">
                  <c:v>22.800333333333334</c:v>
                </c:pt>
                <c:pt idx="45">
                  <c:v>22.800333333333334</c:v>
                </c:pt>
                <c:pt idx="46">
                  <c:v>22.800333333333334</c:v>
                </c:pt>
                <c:pt idx="47">
                  <c:v>22.800333333333334</c:v>
                </c:pt>
                <c:pt idx="48">
                  <c:v>22.800333333333334</c:v>
                </c:pt>
                <c:pt idx="49">
                  <c:v>22.800333333333334</c:v>
                </c:pt>
                <c:pt idx="50">
                  <c:v>22.800333333333334</c:v>
                </c:pt>
                <c:pt idx="51">
                  <c:v>22.800333333333334</c:v>
                </c:pt>
                <c:pt idx="52">
                  <c:v>22.800333333333334</c:v>
                </c:pt>
                <c:pt idx="53">
                  <c:v>22.800333333333334</c:v>
                </c:pt>
                <c:pt idx="54">
                  <c:v>22.800333333333334</c:v>
                </c:pt>
                <c:pt idx="55">
                  <c:v>22.800333333333334</c:v>
                </c:pt>
                <c:pt idx="56">
                  <c:v>22.800333333333334</c:v>
                </c:pt>
                <c:pt idx="57">
                  <c:v>22.800333333333334</c:v>
                </c:pt>
                <c:pt idx="58">
                  <c:v>22.800333333333334</c:v>
                </c:pt>
                <c:pt idx="59">
                  <c:v>22.800333333333334</c:v>
                </c:pt>
                <c:pt idx="60">
                  <c:v>22.800333333333334</c:v>
                </c:pt>
                <c:pt idx="61">
                  <c:v>22.800333333333334</c:v>
                </c:pt>
                <c:pt idx="62">
                  <c:v>22.800333333333334</c:v>
                </c:pt>
                <c:pt idx="63">
                  <c:v>22.800333333333334</c:v>
                </c:pt>
                <c:pt idx="64">
                  <c:v>22.800333333333334</c:v>
                </c:pt>
                <c:pt idx="65">
                  <c:v>22.800333333333334</c:v>
                </c:pt>
                <c:pt idx="66">
                  <c:v>22.800333333333334</c:v>
                </c:pt>
                <c:pt idx="67">
                  <c:v>22.800333333333334</c:v>
                </c:pt>
                <c:pt idx="68">
                  <c:v>22.800333333333334</c:v>
                </c:pt>
                <c:pt idx="69">
                  <c:v>22.800333333333334</c:v>
                </c:pt>
                <c:pt idx="70">
                  <c:v>22.800333333333334</c:v>
                </c:pt>
                <c:pt idx="71">
                  <c:v>22.800333333333334</c:v>
                </c:pt>
                <c:pt idx="72">
                  <c:v>22.800333333333334</c:v>
                </c:pt>
                <c:pt idx="73">
                  <c:v>22.800333333333334</c:v>
                </c:pt>
                <c:pt idx="74">
                  <c:v>22.800333333333334</c:v>
                </c:pt>
                <c:pt idx="75">
                  <c:v>22.800333333333334</c:v>
                </c:pt>
                <c:pt idx="76">
                  <c:v>22.800333333333334</c:v>
                </c:pt>
                <c:pt idx="77">
                  <c:v>22.800333333333334</c:v>
                </c:pt>
                <c:pt idx="78">
                  <c:v>22.800333333333334</c:v>
                </c:pt>
                <c:pt idx="79">
                  <c:v>22.800333333333334</c:v>
                </c:pt>
                <c:pt idx="80">
                  <c:v>22.800333333333334</c:v>
                </c:pt>
                <c:pt idx="81">
                  <c:v>22.800333333333334</c:v>
                </c:pt>
                <c:pt idx="82">
                  <c:v>22.800333333333334</c:v>
                </c:pt>
                <c:pt idx="83">
                  <c:v>22.800333333333334</c:v>
                </c:pt>
                <c:pt idx="84">
                  <c:v>22.800333333333334</c:v>
                </c:pt>
                <c:pt idx="85">
                  <c:v>22.800333333333334</c:v>
                </c:pt>
                <c:pt idx="86">
                  <c:v>22.800333333333334</c:v>
                </c:pt>
                <c:pt idx="87">
                  <c:v>22.800333333333334</c:v>
                </c:pt>
                <c:pt idx="88">
                  <c:v>22.800333333333334</c:v>
                </c:pt>
                <c:pt idx="89">
                  <c:v>22.800333333333334</c:v>
                </c:pt>
                <c:pt idx="90">
                  <c:v>22.800333333333334</c:v>
                </c:pt>
                <c:pt idx="91">
                  <c:v>22.800333333333334</c:v>
                </c:pt>
                <c:pt idx="92">
                  <c:v>22.800333333333334</c:v>
                </c:pt>
                <c:pt idx="93">
                  <c:v>22.800333333333334</c:v>
                </c:pt>
                <c:pt idx="94">
                  <c:v>22.800333333333334</c:v>
                </c:pt>
                <c:pt idx="95">
                  <c:v>22.800333333333334</c:v>
                </c:pt>
                <c:pt idx="96">
                  <c:v>22.800333333333334</c:v>
                </c:pt>
                <c:pt idx="97">
                  <c:v>22.800333333333334</c:v>
                </c:pt>
                <c:pt idx="98">
                  <c:v>22.800333333333334</c:v>
                </c:pt>
                <c:pt idx="99">
                  <c:v>22.800333333333334</c:v>
                </c:pt>
                <c:pt idx="100">
                  <c:v>22.800333333333334</c:v>
                </c:pt>
                <c:pt idx="101">
                  <c:v>22.800333333333334</c:v>
                </c:pt>
                <c:pt idx="102">
                  <c:v>22.800333333333334</c:v>
                </c:pt>
                <c:pt idx="103">
                  <c:v>22.800333333333334</c:v>
                </c:pt>
                <c:pt idx="104">
                  <c:v>22.800333333333334</c:v>
                </c:pt>
                <c:pt idx="105">
                  <c:v>22.800333333333334</c:v>
                </c:pt>
                <c:pt idx="106">
                  <c:v>22.800333333333334</c:v>
                </c:pt>
                <c:pt idx="107">
                  <c:v>22.800333333333334</c:v>
                </c:pt>
                <c:pt idx="108">
                  <c:v>22.800333333333334</c:v>
                </c:pt>
                <c:pt idx="109">
                  <c:v>22.800333333333334</c:v>
                </c:pt>
                <c:pt idx="110">
                  <c:v>22.800333333333334</c:v>
                </c:pt>
                <c:pt idx="111">
                  <c:v>22.800333333333334</c:v>
                </c:pt>
                <c:pt idx="112">
                  <c:v>22.800333333333334</c:v>
                </c:pt>
                <c:pt idx="113">
                  <c:v>22.800333333333334</c:v>
                </c:pt>
                <c:pt idx="114">
                  <c:v>22.800333333333334</c:v>
                </c:pt>
                <c:pt idx="115">
                  <c:v>22.800333333333334</c:v>
                </c:pt>
                <c:pt idx="116">
                  <c:v>22.800333333333334</c:v>
                </c:pt>
                <c:pt idx="117">
                  <c:v>22.800333333333334</c:v>
                </c:pt>
                <c:pt idx="118">
                  <c:v>22.800333333333334</c:v>
                </c:pt>
                <c:pt idx="119">
                  <c:v>22.800333333333334</c:v>
                </c:pt>
                <c:pt idx="120">
                  <c:v>22.800333333333334</c:v>
                </c:pt>
                <c:pt idx="121">
                  <c:v>22.800333333333334</c:v>
                </c:pt>
                <c:pt idx="122">
                  <c:v>22.800333333333334</c:v>
                </c:pt>
                <c:pt idx="123">
                  <c:v>22.800333333333334</c:v>
                </c:pt>
                <c:pt idx="124">
                  <c:v>22.800333333333334</c:v>
                </c:pt>
                <c:pt idx="125">
                  <c:v>22.800333333333334</c:v>
                </c:pt>
                <c:pt idx="126">
                  <c:v>22.800333333333334</c:v>
                </c:pt>
                <c:pt idx="127">
                  <c:v>22.800333333333334</c:v>
                </c:pt>
                <c:pt idx="128">
                  <c:v>22.800333333333334</c:v>
                </c:pt>
                <c:pt idx="129">
                  <c:v>22.800333333333334</c:v>
                </c:pt>
                <c:pt idx="130">
                  <c:v>22.800333333333334</c:v>
                </c:pt>
                <c:pt idx="131">
                  <c:v>22.800333333333334</c:v>
                </c:pt>
                <c:pt idx="132">
                  <c:v>22.800333333333334</c:v>
                </c:pt>
                <c:pt idx="133">
                  <c:v>22.800333333333334</c:v>
                </c:pt>
                <c:pt idx="134">
                  <c:v>22.800333333333334</c:v>
                </c:pt>
                <c:pt idx="135">
                  <c:v>22.800333333333334</c:v>
                </c:pt>
                <c:pt idx="136">
                  <c:v>22.800333333333334</c:v>
                </c:pt>
                <c:pt idx="137">
                  <c:v>22.800333333333334</c:v>
                </c:pt>
                <c:pt idx="138">
                  <c:v>22.800333333333334</c:v>
                </c:pt>
                <c:pt idx="139">
                  <c:v>22.800333333333334</c:v>
                </c:pt>
                <c:pt idx="140">
                  <c:v>22.800333333333334</c:v>
                </c:pt>
                <c:pt idx="141">
                  <c:v>22.800333333333334</c:v>
                </c:pt>
                <c:pt idx="142">
                  <c:v>22.800333333333334</c:v>
                </c:pt>
                <c:pt idx="143">
                  <c:v>22.800333333333334</c:v>
                </c:pt>
                <c:pt idx="144">
                  <c:v>22.800333333333334</c:v>
                </c:pt>
                <c:pt idx="145">
                  <c:v>22.800333333333334</c:v>
                </c:pt>
                <c:pt idx="146">
                  <c:v>22.800333333333334</c:v>
                </c:pt>
                <c:pt idx="147">
                  <c:v>22.800333333333334</c:v>
                </c:pt>
                <c:pt idx="148">
                  <c:v>22.800333333333334</c:v>
                </c:pt>
                <c:pt idx="149">
                  <c:v>22.800333333333334</c:v>
                </c:pt>
                <c:pt idx="150">
                  <c:v>22.800333333333334</c:v>
                </c:pt>
                <c:pt idx="151">
                  <c:v>22.800333333333334</c:v>
                </c:pt>
                <c:pt idx="152">
                  <c:v>22.800333333333334</c:v>
                </c:pt>
                <c:pt idx="153">
                  <c:v>22.800333333333334</c:v>
                </c:pt>
                <c:pt idx="154">
                  <c:v>22.800333333333334</c:v>
                </c:pt>
                <c:pt idx="155">
                  <c:v>22.800333333333334</c:v>
                </c:pt>
                <c:pt idx="156">
                  <c:v>22.800333333333334</c:v>
                </c:pt>
                <c:pt idx="157">
                  <c:v>22.800333333333334</c:v>
                </c:pt>
                <c:pt idx="158">
                  <c:v>22.800333333333334</c:v>
                </c:pt>
                <c:pt idx="159">
                  <c:v>22.800333333333334</c:v>
                </c:pt>
                <c:pt idx="160">
                  <c:v>22.800333333333334</c:v>
                </c:pt>
                <c:pt idx="161">
                  <c:v>22.800333333333334</c:v>
                </c:pt>
                <c:pt idx="162">
                  <c:v>22.800333333333334</c:v>
                </c:pt>
                <c:pt idx="163">
                  <c:v>22.800333333333334</c:v>
                </c:pt>
                <c:pt idx="164">
                  <c:v>22.800333333333334</c:v>
                </c:pt>
                <c:pt idx="165">
                  <c:v>22.800333333333334</c:v>
                </c:pt>
                <c:pt idx="166">
                  <c:v>22.800333333333334</c:v>
                </c:pt>
                <c:pt idx="167">
                  <c:v>22.800333333333334</c:v>
                </c:pt>
                <c:pt idx="168">
                  <c:v>22.800333333333334</c:v>
                </c:pt>
                <c:pt idx="169">
                  <c:v>22.800333333333334</c:v>
                </c:pt>
                <c:pt idx="170">
                  <c:v>22.800333333333334</c:v>
                </c:pt>
                <c:pt idx="171">
                  <c:v>22.800333333333334</c:v>
                </c:pt>
                <c:pt idx="172">
                  <c:v>22.800333333333334</c:v>
                </c:pt>
                <c:pt idx="173">
                  <c:v>22.800333333333334</c:v>
                </c:pt>
                <c:pt idx="174">
                  <c:v>22.800333333333334</c:v>
                </c:pt>
                <c:pt idx="175">
                  <c:v>22.800333333333334</c:v>
                </c:pt>
                <c:pt idx="176">
                  <c:v>22.800333333333334</c:v>
                </c:pt>
                <c:pt idx="177">
                  <c:v>22.800333333333334</c:v>
                </c:pt>
                <c:pt idx="178">
                  <c:v>22.800333333333334</c:v>
                </c:pt>
                <c:pt idx="179">
                  <c:v>22.800333333333334</c:v>
                </c:pt>
                <c:pt idx="180">
                  <c:v>22.800333333333334</c:v>
                </c:pt>
                <c:pt idx="181">
                  <c:v>22.800333333333334</c:v>
                </c:pt>
                <c:pt idx="182">
                  <c:v>22.800333333333334</c:v>
                </c:pt>
                <c:pt idx="183">
                  <c:v>22.800333333333334</c:v>
                </c:pt>
                <c:pt idx="184">
                  <c:v>22.800333333333334</c:v>
                </c:pt>
                <c:pt idx="185">
                  <c:v>22.800333333333334</c:v>
                </c:pt>
                <c:pt idx="186">
                  <c:v>22.800333333333334</c:v>
                </c:pt>
                <c:pt idx="187">
                  <c:v>22.800333333333334</c:v>
                </c:pt>
                <c:pt idx="188">
                  <c:v>22.800333333333334</c:v>
                </c:pt>
                <c:pt idx="189">
                  <c:v>22.800333333333334</c:v>
                </c:pt>
                <c:pt idx="190">
                  <c:v>22.800333333333334</c:v>
                </c:pt>
                <c:pt idx="191">
                  <c:v>22.800333333333334</c:v>
                </c:pt>
                <c:pt idx="192">
                  <c:v>22.800333333333334</c:v>
                </c:pt>
                <c:pt idx="193">
                  <c:v>22.800333333333334</c:v>
                </c:pt>
                <c:pt idx="194">
                  <c:v>22.800333333333334</c:v>
                </c:pt>
                <c:pt idx="195">
                  <c:v>22.800333333333334</c:v>
                </c:pt>
                <c:pt idx="196">
                  <c:v>22.800333333333334</c:v>
                </c:pt>
                <c:pt idx="197">
                  <c:v>22.800333333333334</c:v>
                </c:pt>
                <c:pt idx="198">
                  <c:v>22.800333333333334</c:v>
                </c:pt>
                <c:pt idx="199">
                  <c:v>22.800333333333334</c:v>
                </c:pt>
                <c:pt idx="200">
                  <c:v>22.800333333333334</c:v>
                </c:pt>
                <c:pt idx="201">
                  <c:v>22.800333333333334</c:v>
                </c:pt>
                <c:pt idx="202">
                  <c:v>22.800333333333334</c:v>
                </c:pt>
                <c:pt idx="203">
                  <c:v>22.800333333333334</c:v>
                </c:pt>
                <c:pt idx="204">
                  <c:v>22.800333333333334</c:v>
                </c:pt>
                <c:pt idx="205">
                  <c:v>22.800333333333334</c:v>
                </c:pt>
                <c:pt idx="206">
                  <c:v>22.800333333333334</c:v>
                </c:pt>
                <c:pt idx="207">
                  <c:v>22.800333333333334</c:v>
                </c:pt>
                <c:pt idx="208">
                  <c:v>22.800333333333334</c:v>
                </c:pt>
                <c:pt idx="209">
                  <c:v>22.800333333333334</c:v>
                </c:pt>
                <c:pt idx="210">
                  <c:v>22.800333333333334</c:v>
                </c:pt>
                <c:pt idx="211">
                  <c:v>22.800333333333334</c:v>
                </c:pt>
                <c:pt idx="212">
                  <c:v>22.800333333333334</c:v>
                </c:pt>
                <c:pt idx="213">
                  <c:v>22.800333333333334</c:v>
                </c:pt>
                <c:pt idx="214">
                  <c:v>22.800333333333334</c:v>
                </c:pt>
                <c:pt idx="215">
                  <c:v>22.800333333333334</c:v>
                </c:pt>
                <c:pt idx="216">
                  <c:v>22.800333333333334</c:v>
                </c:pt>
                <c:pt idx="217">
                  <c:v>22.800333333333334</c:v>
                </c:pt>
                <c:pt idx="218">
                  <c:v>22.800333333333334</c:v>
                </c:pt>
                <c:pt idx="219">
                  <c:v>22.800333333333334</c:v>
                </c:pt>
                <c:pt idx="220">
                  <c:v>22.800333333333334</c:v>
                </c:pt>
                <c:pt idx="221">
                  <c:v>22.800333333333334</c:v>
                </c:pt>
                <c:pt idx="222">
                  <c:v>22.800333333333334</c:v>
                </c:pt>
                <c:pt idx="223">
                  <c:v>22.800333333333334</c:v>
                </c:pt>
                <c:pt idx="224">
                  <c:v>22.800333333333334</c:v>
                </c:pt>
                <c:pt idx="225">
                  <c:v>22.800333333333334</c:v>
                </c:pt>
                <c:pt idx="226">
                  <c:v>22.800333333333334</c:v>
                </c:pt>
                <c:pt idx="227">
                  <c:v>22.800333333333334</c:v>
                </c:pt>
                <c:pt idx="228">
                  <c:v>22.800333333333334</c:v>
                </c:pt>
                <c:pt idx="229">
                  <c:v>22.800333333333334</c:v>
                </c:pt>
                <c:pt idx="230">
                  <c:v>22.800333333333334</c:v>
                </c:pt>
                <c:pt idx="231">
                  <c:v>22.800333333333334</c:v>
                </c:pt>
                <c:pt idx="232">
                  <c:v>22.800333333333334</c:v>
                </c:pt>
                <c:pt idx="233">
                  <c:v>22.800333333333334</c:v>
                </c:pt>
                <c:pt idx="234">
                  <c:v>22.800333333333334</c:v>
                </c:pt>
                <c:pt idx="235">
                  <c:v>22.800333333333334</c:v>
                </c:pt>
                <c:pt idx="236">
                  <c:v>22.800333333333334</c:v>
                </c:pt>
                <c:pt idx="237">
                  <c:v>22.800333333333334</c:v>
                </c:pt>
                <c:pt idx="238">
                  <c:v>22.800333333333334</c:v>
                </c:pt>
                <c:pt idx="239">
                  <c:v>22.800333333333334</c:v>
                </c:pt>
                <c:pt idx="240">
                  <c:v>22.800333333333334</c:v>
                </c:pt>
                <c:pt idx="241">
                  <c:v>22.800333333333334</c:v>
                </c:pt>
                <c:pt idx="242">
                  <c:v>22.800333333333334</c:v>
                </c:pt>
                <c:pt idx="243">
                  <c:v>22.800333333333334</c:v>
                </c:pt>
                <c:pt idx="244">
                  <c:v>22.800333333333334</c:v>
                </c:pt>
                <c:pt idx="245">
                  <c:v>22.800333333333334</c:v>
                </c:pt>
                <c:pt idx="246">
                  <c:v>22.800333333333334</c:v>
                </c:pt>
                <c:pt idx="247">
                  <c:v>22.800333333333334</c:v>
                </c:pt>
                <c:pt idx="248">
                  <c:v>22.800333333333334</c:v>
                </c:pt>
                <c:pt idx="249">
                  <c:v>22.800333333333334</c:v>
                </c:pt>
                <c:pt idx="250">
                  <c:v>22.800333333333334</c:v>
                </c:pt>
                <c:pt idx="251">
                  <c:v>22.800333333333334</c:v>
                </c:pt>
                <c:pt idx="252">
                  <c:v>22.800333333333334</c:v>
                </c:pt>
                <c:pt idx="253">
                  <c:v>22.800333333333334</c:v>
                </c:pt>
                <c:pt idx="254">
                  <c:v>22.800333333333334</c:v>
                </c:pt>
                <c:pt idx="255">
                  <c:v>22.800333333333334</c:v>
                </c:pt>
                <c:pt idx="256">
                  <c:v>22.800333333333334</c:v>
                </c:pt>
                <c:pt idx="257">
                  <c:v>22.800333333333334</c:v>
                </c:pt>
                <c:pt idx="258">
                  <c:v>22.800333333333334</c:v>
                </c:pt>
                <c:pt idx="259">
                  <c:v>22.800333333333334</c:v>
                </c:pt>
                <c:pt idx="260">
                  <c:v>22.800333333333334</c:v>
                </c:pt>
                <c:pt idx="261">
                  <c:v>22.800333333333334</c:v>
                </c:pt>
                <c:pt idx="262">
                  <c:v>22.800333333333334</c:v>
                </c:pt>
                <c:pt idx="263">
                  <c:v>22.800333333333334</c:v>
                </c:pt>
                <c:pt idx="264">
                  <c:v>22.800333333333334</c:v>
                </c:pt>
                <c:pt idx="265">
                  <c:v>22.800333333333334</c:v>
                </c:pt>
                <c:pt idx="266">
                  <c:v>22.800333333333334</c:v>
                </c:pt>
                <c:pt idx="267">
                  <c:v>22.800333333333334</c:v>
                </c:pt>
                <c:pt idx="268">
                  <c:v>22.800333333333334</c:v>
                </c:pt>
                <c:pt idx="269">
                  <c:v>22.800333333333334</c:v>
                </c:pt>
                <c:pt idx="270">
                  <c:v>22.800333333333334</c:v>
                </c:pt>
                <c:pt idx="271">
                  <c:v>22.800333333333334</c:v>
                </c:pt>
                <c:pt idx="272">
                  <c:v>22.800333333333334</c:v>
                </c:pt>
                <c:pt idx="273">
                  <c:v>22.800333333333334</c:v>
                </c:pt>
                <c:pt idx="274">
                  <c:v>22.800333333333334</c:v>
                </c:pt>
                <c:pt idx="275">
                  <c:v>22.800333333333334</c:v>
                </c:pt>
                <c:pt idx="276">
                  <c:v>22.800333333333334</c:v>
                </c:pt>
                <c:pt idx="277">
                  <c:v>22.800333333333334</c:v>
                </c:pt>
                <c:pt idx="278">
                  <c:v>22.800333333333334</c:v>
                </c:pt>
                <c:pt idx="279">
                  <c:v>22.800333333333334</c:v>
                </c:pt>
                <c:pt idx="280">
                  <c:v>22.800333333333334</c:v>
                </c:pt>
                <c:pt idx="281">
                  <c:v>22.800333333333334</c:v>
                </c:pt>
                <c:pt idx="282">
                  <c:v>22.800333333333334</c:v>
                </c:pt>
                <c:pt idx="283">
                  <c:v>22.800333333333334</c:v>
                </c:pt>
                <c:pt idx="284">
                  <c:v>22.800333333333334</c:v>
                </c:pt>
                <c:pt idx="285">
                  <c:v>22.800333333333334</c:v>
                </c:pt>
                <c:pt idx="286">
                  <c:v>22.800333333333334</c:v>
                </c:pt>
                <c:pt idx="287">
                  <c:v>22.800333333333334</c:v>
                </c:pt>
                <c:pt idx="288">
                  <c:v>22.800333333333334</c:v>
                </c:pt>
                <c:pt idx="289">
                  <c:v>22.800333333333334</c:v>
                </c:pt>
                <c:pt idx="290">
                  <c:v>22.800333333333334</c:v>
                </c:pt>
                <c:pt idx="291">
                  <c:v>22.800333333333334</c:v>
                </c:pt>
                <c:pt idx="292">
                  <c:v>22.800333333333334</c:v>
                </c:pt>
                <c:pt idx="293">
                  <c:v>22.800333333333334</c:v>
                </c:pt>
                <c:pt idx="294">
                  <c:v>22.800333333333334</c:v>
                </c:pt>
                <c:pt idx="295">
                  <c:v>22.800333333333334</c:v>
                </c:pt>
                <c:pt idx="296">
                  <c:v>22.800333333333334</c:v>
                </c:pt>
                <c:pt idx="297">
                  <c:v>22.800333333333334</c:v>
                </c:pt>
                <c:pt idx="298">
                  <c:v>22.800333333333334</c:v>
                </c:pt>
                <c:pt idx="299">
                  <c:v>22.800333333333334</c:v>
                </c:pt>
                <c:pt idx="300">
                  <c:v>22.800333333333334</c:v>
                </c:pt>
                <c:pt idx="301">
                  <c:v>22.800333333333334</c:v>
                </c:pt>
                <c:pt idx="302">
                  <c:v>22.800333333333334</c:v>
                </c:pt>
                <c:pt idx="303">
                  <c:v>22.800333333333334</c:v>
                </c:pt>
                <c:pt idx="304">
                  <c:v>22.800333333333334</c:v>
                </c:pt>
                <c:pt idx="305">
                  <c:v>22.800333333333334</c:v>
                </c:pt>
                <c:pt idx="306">
                  <c:v>22.800333333333334</c:v>
                </c:pt>
                <c:pt idx="307">
                  <c:v>22.800333333333334</c:v>
                </c:pt>
                <c:pt idx="308">
                  <c:v>22.800333333333334</c:v>
                </c:pt>
                <c:pt idx="309">
                  <c:v>22.800333333333334</c:v>
                </c:pt>
                <c:pt idx="310">
                  <c:v>22.800333333333334</c:v>
                </c:pt>
                <c:pt idx="311">
                  <c:v>22.800333333333334</c:v>
                </c:pt>
                <c:pt idx="312">
                  <c:v>22.800333333333334</c:v>
                </c:pt>
                <c:pt idx="313">
                  <c:v>22.800333333333334</c:v>
                </c:pt>
                <c:pt idx="314">
                  <c:v>22.800333333333334</c:v>
                </c:pt>
                <c:pt idx="315">
                  <c:v>22.800333333333334</c:v>
                </c:pt>
                <c:pt idx="316">
                  <c:v>22.800333333333334</c:v>
                </c:pt>
                <c:pt idx="317">
                  <c:v>22.800333333333334</c:v>
                </c:pt>
                <c:pt idx="318">
                  <c:v>22.800333333333334</c:v>
                </c:pt>
                <c:pt idx="319">
                  <c:v>22.800333333333334</c:v>
                </c:pt>
                <c:pt idx="320">
                  <c:v>22.800333333333334</c:v>
                </c:pt>
                <c:pt idx="321">
                  <c:v>22.800333333333334</c:v>
                </c:pt>
                <c:pt idx="322">
                  <c:v>22.800333333333334</c:v>
                </c:pt>
                <c:pt idx="323">
                  <c:v>22.800333333333334</c:v>
                </c:pt>
                <c:pt idx="324">
                  <c:v>22.800333333333334</c:v>
                </c:pt>
                <c:pt idx="325">
                  <c:v>22.800333333333334</c:v>
                </c:pt>
                <c:pt idx="326">
                  <c:v>22.800333333333334</c:v>
                </c:pt>
                <c:pt idx="327">
                  <c:v>22.800333333333334</c:v>
                </c:pt>
                <c:pt idx="328">
                  <c:v>22.800333333333334</c:v>
                </c:pt>
                <c:pt idx="329">
                  <c:v>22.800333333333334</c:v>
                </c:pt>
                <c:pt idx="330">
                  <c:v>22.800333333333334</c:v>
                </c:pt>
                <c:pt idx="331">
                  <c:v>22.800333333333334</c:v>
                </c:pt>
                <c:pt idx="332">
                  <c:v>22.800333333333334</c:v>
                </c:pt>
                <c:pt idx="333">
                  <c:v>22.800333333333334</c:v>
                </c:pt>
                <c:pt idx="334">
                  <c:v>22.800333333333334</c:v>
                </c:pt>
                <c:pt idx="335">
                  <c:v>22.800333333333334</c:v>
                </c:pt>
                <c:pt idx="336">
                  <c:v>22.800333333333334</c:v>
                </c:pt>
                <c:pt idx="337">
                  <c:v>22.800333333333334</c:v>
                </c:pt>
                <c:pt idx="338">
                  <c:v>22.800333333333334</c:v>
                </c:pt>
                <c:pt idx="339">
                  <c:v>22.800333333333334</c:v>
                </c:pt>
                <c:pt idx="340">
                  <c:v>22.800333333333334</c:v>
                </c:pt>
                <c:pt idx="341">
                  <c:v>22.800333333333334</c:v>
                </c:pt>
                <c:pt idx="342">
                  <c:v>22.800333333333334</c:v>
                </c:pt>
                <c:pt idx="343">
                  <c:v>22.800333333333334</c:v>
                </c:pt>
                <c:pt idx="344">
                  <c:v>22.800333333333334</c:v>
                </c:pt>
                <c:pt idx="345">
                  <c:v>22.800333333333334</c:v>
                </c:pt>
                <c:pt idx="346">
                  <c:v>22.800333333333334</c:v>
                </c:pt>
                <c:pt idx="347">
                  <c:v>22.800333333333334</c:v>
                </c:pt>
                <c:pt idx="348">
                  <c:v>22.800333333333334</c:v>
                </c:pt>
                <c:pt idx="349">
                  <c:v>22.800333333333334</c:v>
                </c:pt>
                <c:pt idx="350">
                  <c:v>22.800333333333334</c:v>
                </c:pt>
                <c:pt idx="351">
                  <c:v>22.800333333333334</c:v>
                </c:pt>
                <c:pt idx="352">
                  <c:v>22.800333333333334</c:v>
                </c:pt>
                <c:pt idx="353">
                  <c:v>22.800333333333334</c:v>
                </c:pt>
                <c:pt idx="354">
                  <c:v>22.800333333333334</c:v>
                </c:pt>
                <c:pt idx="355">
                  <c:v>22.800333333333334</c:v>
                </c:pt>
                <c:pt idx="356">
                  <c:v>22.800333333333334</c:v>
                </c:pt>
                <c:pt idx="357">
                  <c:v>22.800333333333334</c:v>
                </c:pt>
                <c:pt idx="358">
                  <c:v>22.800333333333334</c:v>
                </c:pt>
                <c:pt idx="359">
                  <c:v>22.800333333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8A6-4616-BB25-6C14A97268E5}"/>
            </c:ext>
          </c:extLst>
        </c:ser>
        <c:ser>
          <c:idx val="4"/>
          <c:order val="4"/>
          <c:tx>
            <c:v>irrigation contrôle</c:v>
          </c:tx>
          <c:spPr>
            <a:ln w="28575" cap="rnd">
              <a:solidFill>
                <a:schemeClr val="accent5"/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2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C8A6-4616-BB25-6C14A97268E5}"/>
              </c:ext>
            </c:extLst>
          </c:dPt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L$2:$L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5.200222222222223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5.200222222222223</c:v>
                </c:pt>
                <c:pt idx="35">
                  <c:v>0</c:v>
                </c:pt>
                <c:pt idx="36">
                  <c:v>15.200222222222223</c:v>
                </c:pt>
                <c:pt idx="37">
                  <c:v>15.200222222222223</c:v>
                </c:pt>
                <c:pt idx="38">
                  <c:v>0</c:v>
                </c:pt>
                <c:pt idx="39">
                  <c:v>0</c:v>
                </c:pt>
                <c:pt idx="40">
                  <c:v>15.200222222222223</c:v>
                </c:pt>
                <c:pt idx="41">
                  <c:v>0</c:v>
                </c:pt>
                <c:pt idx="42">
                  <c:v>15.200222222222223</c:v>
                </c:pt>
                <c:pt idx="43">
                  <c:v>0</c:v>
                </c:pt>
                <c:pt idx="44">
                  <c:v>15.200222222222223</c:v>
                </c:pt>
                <c:pt idx="45">
                  <c:v>0</c:v>
                </c:pt>
                <c:pt idx="46">
                  <c:v>15.200222222222223</c:v>
                </c:pt>
                <c:pt idx="47">
                  <c:v>0</c:v>
                </c:pt>
                <c:pt idx="48">
                  <c:v>15.200222222222223</c:v>
                </c:pt>
                <c:pt idx="49">
                  <c:v>0</c:v>
                </c:pt>
                <c:pt idx="50">
                  <c:v>15.200222222222223</c:v>
                </c:pt>
                <c:pt idx="51">
                  <c:v>0</c:v>
                </c:pt>
                <c:pt idx="52">
                  <c:v>15.200222222222223</c:v>
                </c:pt>
                <c:pt idx="53">
                  <c:v>0</c:v>
                </c:pt>
                <c:pt idx="54">
                  <c:v>15.200222222222223</c:v>
                </c:pt>
                <c:pt idx="55">
                  <c:v>0</c:v>
                </c:pt>
                <c:pt idx="56">
                  <c:v>15.200222222222223</c:v>
                </c:pt>
                <c:pt idx="57">
                  <c:v>15.200222222222223</c:v>
                </c:pt>
                <c:pt idx="58">
                  <c:v>0</c:v>
                </c:pt>
                <c:pt idx="59">
                  <c:v>15.200222222222223</c:v>
                </c:pt>
                <c:pt idx="60">
                  <c:v>0</c:v>
                </c:pt>
                <c:pt idx="61">
                  <c:v>0</c:v>
                </c:pt>
                <c:pt idx="62">
                  <c:v>15.200222222222223</c:v>
                </c:pt>
                <c:pt idx="63">
                  <c:v>0</c:v>
                </c:pt>
                <c:pt idx="64">
                  <c:v>0</c:v>
                </c:pt>
                <c:pt idx="65">
                  <c:v>15.200222222222223</c:v>
                </c:pt>
                <c:pt idx="66">
                  <c:v>0</c:v>
                </c:pt>
                <c:pt idx="67">
                  <c:v>15.200222222222223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5.200222222222223</c:v>
                </c:pt>
                <c:pt idx="72">
                  <c:v>0</c:v>
                </c:pt>
                <c:pt idx="73">
                  <c:v>0</c:v>
                </c:pt>
                <c:pt idx="74">
                  <c:v>15.200222222222223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8A6-4616-BB25-6C14A97268E5}"/>
            </c:ext>
          </c:extLst>
        </c:ser>
        <c:ser>
          <c:idx val="5"/>
          <c:order val="5"/>
          <c:tx>
            <c:v>irrigation APV</c:v>
          </c:tx>
          <c:spPr>
            <a:ln w="28575" cap="rnd">
              <a:solidFill>
                <a:schemeClr val="accent2">
                  <a:lumMod val="40000"/>
                  <a:lumOff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[Automatisation bilan hydrique futur.xlsm]Bilan_hydrique'!$Q$2:$Q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5.200222222222223</c:v>
                </c:pt>
                <c:pt idx="37">
                  <c:v>0</c:v>
                </c:pt>
                <c:pt idx="38">
                  <c:v>0</c:v>
                </c:pt>
                <c:pt idx="39">
                  <c:v>15.200222222222223</c:v>
                </c:pt>
                <c:pt idx="40">
                  <c:v>0</c:v>
                </c:pt>
                <c:pt idx="41">
                  <c:v>15.200222222222223</c:v>
                </c:pt>
                <c:pt idx="42">
                  <c:v>0</c:v>
                </c:pt>
                <c:pt idx="43">
                  <c:v>15.200222222222223</c:v>
                </c:pt>
                <c:pt idx="44">
                  <c:v>0</c:v>
                </c:pt>
                <c:pt idx="45">
                  <c:v>15.200222222222223</c:v>
                </c:pt>
                <c:pt idx="46">
                  <c:v>0</c:v>
                </c:pt>
                <c:pt idx="47">
                  <c:v>15.200222222222223</c:v>
                </c:pt>
                <c:pt idx="48">
                  <c:v>0</c:v>
                </c:pt>
                <c:pt idx="49">
                  <c:v>0</c:v>
                </c:pt>
                <c:pt idx="50">
                  <c:v>15.200222222222223</c:v>
                </c:pt>
                <c:pt idx="51">
                  <c:v>0</c:v>
                </c:pt>
                <c:pt idx="52">
                  <c:v>15.200222222222223</c:v>
                </c:pt>
                <c:pt idx="53">
                  <c:v>0</c:v>
                </c:pt>
                <c:pt idx="54">
                  <c:v>15.200222222222223</c:v>
                </c:pt>
                <c:pt idx="55">
                  <c:v>0</c:v>
                </c:pt>
                <c:pt idx="56">
                  <c:v>0</c:v>
                </c:pt>
                <c:pt idx="57">
                  <c:v>15.200222222222223</c:v>
                </c:pt>
                <c:pt idx="58">
                  <c:v>0</c:v>
                </c:pt>
                <c:pt idx="59">
                  <c:v>0</c:v>
                </c:pt>
                <c:pt idx="60">
                  <c:v>15.200222222222223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5.200222222222223</c:v>
                </c:pt>
                <c:pt idx="65">
                  <c:v>0</c:v>
                </c:pt>
                <c:pt idx="66">
                  <c:v>0</c:v>
                </c:pt>
                <c:pt idx="67">
                  <c:v>15.200222222222223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15.200222222222223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8A6-4616-BB25-6C14A97268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28522271"/>
        <c:axId val="2128518431"/>
      </c:lineChart>
      <c:dateAx>
        <c:axId val="21285222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28518431"/>
        <c:crosses val="autoZero"/>
        <c:auto val="1"/>
        <c:lblOffset val="100"/>
        <c:baseTimeUnit val="days"/>
      </c:dateAx>
      <c:valAx>
        <c:axId val="21285184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Eau Utioe</a:t>
                </a:r>
                <a:r>
                  <a:rPr lang="fr-FR" baseline="0"/>
                  <a:t>(mm)</a:t>
                </a:r>
                <a:endParaRPr lang="fr-FR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128522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22015241789981"/>
          <c:y val="0.28547583552055994"/>
          <c:w val="0.17654909812870193"/>
          <c:h val="0.411743132108486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Irrigation Cumulé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contrôl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M$2:$M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5.200222222222223</c:v>
                </c:pt>
                <c:pt idx="21">
                  <c:v>15.200222222222223</c:v>
                </c:pt>
                <c:pt idx="22">
                  <c:v>15.200222222222223</c:v>
                </c:pt>
                <c:pt idx="23">
                  <c:v>15.200222222222223</c:v>
                </c:pt>
                <c:pt idx="24">
                  <c:v>15.200222222222223</c:v>
                </c:pt>
                <c:pt idx="25">
                  <c:v>15.200222222222223</c:v>
                </c:pt>
                <c:pt idx="26">
                  <c:v>15.200222222222223</c:v>
                </c:pt>
                <c:pt idx="27">
                  <c:v>15.200222222222223</c:v>
                </c:pt>
                <c:pt idx="28">
                  <c:v>15.200222222222223</c:v>
                </c:pt>
                <c:pt idx="29">
                  <c:v>15.200222222222223</c:v>
                </c:pt>
                <c:pt idx="30">
                  <c:v>15.200222222222223</c:v>
                </c:pt>
                <c:pt idx="31">
                  <c:v>15.200222222222223</c:v>
                </c:pt>
                <c:pt idx="32">
                  <c:v>15.200222222222223</c:v>
                </c:pt>
                <c:pt idx="33">
                  <c:v>15.200222222222223</c:v>
                </c:pt>
                <c:pt idx="34">
                  <c:v>15.200222222222223</c:v>
                </c:pt>
                <c:pt idx="35">
                  <c:v>30.400444444444446</c:v>
                </c:pt>
                <c:pt idx="36">
                  <c:v>30.400444444444446</c:v>
                </c:pt>
                <c:pt idx="37">
                  <c:v>45.600666666666669</c:v>
                </c:pt>
                <c:pt idx="38">
                  <c:v>60.800888888888892</c:v>
                </c:pt>
                <c:pt idx="39">
                  <c:v>60.800888888888892</c:v>
                </c:pt>
                <c:pt idx="40">
                  <c:v>60.800888888888892</c:v>
                </c:pt>
                <c:pt idx="41">
                  <c:v>76.001111111111115</c:v>
                </c:pt>
                <c:pt idx="42">
                  <c:v>76.001111111111115</c:v>
                </c:pt>
                <c:pt idx="43">
                  <c:v>91.201333333333338</c:v>
                </c:pt>
                <c:pt idx="44">
                  <c:v>91.201333333333338</c:v>
                </c:pt>
                <c:pt idx="45">
                  <c:v>106.40155555555556</c:v>
                </c:pt>
                <c:pt idx="46">
                  <c:v>106.40155555555556</c:v>
                </c:pt>
                <c:pt idx="47">
                  <c:v>121.60177777777778</c:v>
                </c:pt>
                <c:pt idx="48">
                  <c:v>121.60177777777778</c:v>
                </c:pt>
                <c:pt idx="49">
                  <c:v>136.80200000000002</c:v>
                </c:pt>
                <c:pt idx="50">
                  <c:v>136.80200000000002</c:v>
                </c:pt>
                <c:pt idx="51">
                  <c:v>152.00222222222226</c:v>
                </c:pt>
                <c:pt idx="52">
                  <c:v>152.00222222222226</c:v>
                </c:pt>
                <c:pt idx="53">
                  <c:v>167.2024444444445</c:v>
                </c:pt>
                <c:pt idx="54">
                  <c:v>167.2024444444445</c:v>
                </c:pt>
                <c:pt idx="55">
                  <c:v>182.40266666666673</c:v>
                </c:pt>
                <c:pt idx="56">
                  <c:v>182.40266666666673</c:v>
                </c:pt>
                <c:pt idx="57">
                  <c:v>197.60288888888897</c:v>
                </c:pt>
                <c:pt idx="58">
                  <c:v>212.80311111111121</c:v>
                </c:pt>
                <c:pt idx="59">
                  <c:v>212.80311111111121</c:v>
                </c:pt>
                <c:pt idx="60">
                  <c:v>228.00333333333344</c:v>
                </c:pt>
                <c:pt idx="61">
                  <c:v>228.00333333333344</c:v>
                </c:pt>
                <c:pt idx="62">
                  <c:v>228.00333333333344</c:v>
                </c:pt>
                <c:pt idx="63">
                  <c:v>243.20355555555568</c:v>
                </c:pt>
                <c:pt idx="64">
                  <c:v>243.20355555555568</c:v>
                </c:pt>
                <c:pt idx="65">
                  <c:v>243.20355555555568</c:v>
                </c:pt>
                <c:pt idx="66">
                  <c:v>258.40377777777792</c:v>
                </c:pt>
                <c:pt idx="67">
                  <c:v>258.40377777777792</c:v>
                </c:pt>
                <c:pt idx="68">
                  <c:v>273.60400000000016</c:v>
                </c:pt>
                <c:pt idx="69">
                  <c:v>273.60400000000016</c:v>
                </c:pt>
                <c:pt idx="70">
                  <c:v>273.60400000000016</c:v>
                </c:pt>
                <c:pt idx="71">
                  <c:v>273.60400000000016</c:v>
                </c:pt>
                <c:pt idx="72">
                  <c:v>288.80422222222239</c:v>
                </c:pt>
                <c:pt idx="73">
                  <c:v>288.80422222222239</c:v>
                </c:pt>
                <c:pt idx="74">
                  <c:v>288.80422222222239</c:v>
                </c:pt>
                <c:pt idx="75">
                  <c:v>304.00444444444463</c:v>
                </c:pt>
                <c:pt idx="76">
                  <c:v>304.00444444444463</c:v>
                </c:pt>
                <c:pt idx="77">
                  <c:v>304.00444444444463</c:v>
                </c:pt>
                <c:pt idx="78">
                  <c:v>304.00444444444463</c:v>
                </c:pt>
                <c:pt idx="79">
                  <c:v>304.00444444444463</c:v>
                </c:pt>
                <c:pt idx="80">
                  <c:v>304.00444444444463</c:v>
                </c:pt>
                <c:pt idx="81">
                  <c:v>304.00444444444463</c:v>
                </c:pt>
                <c:pt idx="82">
                  <c:v>304.00444444444463</c:v>
                </c:pt>
                <c:pt idx="83">
                  <c:v>304.00444444444463</c:v>
                </c:pt>
                <c:pt idx="84">
                  <c:v>304.00444444444463</c:v>
                </c:pt>
                <c:pt idx="85">
                  <c:v>304.00444444444463</c:v>
                </c:pt>
                <c:pt idx="86">
                  <c:v>304.00444444444463</c:v>
                </c:pt>
                <c:pt idx="87">
                  <c:v>304.00444444444463</c:v>
                </c:pt>
                <c:pt idx="88">
                  <c:v>304.00444444444463</c:v>
                </c:pt>
                <c:pt idx="89">
                  <c:v>304.00444444444463</c:v>
                </c:pt>
                <c:pt idx="90">
                  <c:v>304.00444444444463</c:v>
                </c:pt>
                <c:pt idx="91">
                  <c:v>304.00444444444463</c:v>
                </c:pt>
                <c:pt idx="92">
                  <c:v>304.00444444444463</c:v>
                </c:pt>
                <c:pt idx="93">
                  <c:v>304.00444444444463</c:v>
                </c:pt>
                <c:pt idx="94">
                  <c:v>304.00444444444463</c:v>
                </c:pt>
                <c:pt idx="95">
                  <c:v>304.00444444444463</c:v>
                </c:pt>
                <c:pt idx="96">
                  <c:v>304.00444444444463</c:v>
                </c:pt>
                <c:pt idx="97">
                  <c:v>304.00444444444463</c:v>
                </c:pt>
                <c:pt idx="98">
                  <c:v>304.00444444444463</c:v>
                </c:pt>
                <c:pt idx="99">
                  <c:v>304.00444444444463</c:v>
                </c:pt>
                <c:pt idx="100">
                  <c:v>304.00444444444463</c:v>
                </c:pt>
                <c:pt idx="101">
                  <c:v>304.00444444444463</c:v>
                </c:pt>
                <c:pt idx="102">
                  <c:v>304.00444444444463</c:v>
                </c:pt>
                <c:pt idx="103">
                  <c:v>304.00444444444463</c:v>
                </c:pt>
                <c:pt idx="104">
                  <c:v>304.00444444444463</c:v>
                </c:pt>
                <c:pt idx="105">
                  <c:v>304.00444444444463</c:v>
                </c:pt>
                <c:pt idx="106">
                  <c:v>304.00444444444463</c:v>
                </c:pt>
                <c:pt idx="107">
                  <c:v>304.00444444444463</c:v>
                </c:pt>
                <c:pt idx="108">
                  <c:v>304.00444444444463</c:v>
                </c:pt>
                <c:pt idx="109">
                  <c:v>304.00444444444463</c:v>
                </c:pt>
                <c:pt idx="110">
                  <c:v>304.00444444444463</c:v>
                </c:pt>
                <c:pt idx="111">
                  <c:v>304.00444444444463</c:v>
                </c:pt>
                <c:pt idx="112">
                  <c:v>304.00444444444463</c:v>
                </c:pt>
                <c:pt idx="113">
                  <c:v>304.00444444444463</c:v>
                </c:pt>
                <c:pt idx="114">
                  <c:v>304.00444444444463</c:v>
                </c:pt>
                <c:pt idx="115">
                  <c:v>304.00444444444463</c:v>
                </c:pt>
                <c:pt idx="116">
                  <c:v>304.00444444444463</c:v>
                </c:pt>
                <c:pt idx="117">
                  <c:v>304.00444444444463</c:v>
                </c:pt>
                <c:pt idx="118">
                  <c:v>304.00444444444463</c:v>
                </c:pt>
                <c:pt idx="119">
                  <c:v>304.00444444444463</c:v>
                </c:pt>
                <c:pt idx="120">
                  <c:v>304.00444444444463</c:v>
                </c:pt>
                <c:pt idx="121">
                  <c:v>304.00444444444463</c:v>
                </c:pt>
                <c:pt idx="122">
                  <c:v>304.00444444444463</c:v>
                </c:pt>
                <c:pt idx="123">
                  <c:v>304.00444444444463</c:v>
                </c:pt>
                <c:pt idx="124">
                  <c:v>304.00444444444463</c:v>
                </c:pt>
                <c:pt idx="125">
                  <c:v>304.00444444444463</c:v>
                </c:pt>
                <c:pt idx="126">
                  <c:v>304.00444444444463</c:v>
                </c:pt>
                <c:pt idx="127">
                  <c:v>304.00444444444463</c:v>
                </c:pt>
                <c:pt idx="128">
                  <c:v>304.00444444444463</c:v>
                </c:pt>
                <c:pt idx="129">
                  <c:v>304.00444444444463</c:v>
                </c:pt>
                <c:pt idx="130">
                  <c:v>304.00444444444463</c:v>
                </c:pt>
                <c:pt idx="131">
                  <c:v>304.00444444444463</c:v>
                </c:pt>
                <c:pt idx="132">
                  <c:v>304.00444444444463</c:v>
                </c:pt>
                <c:pt idx="133">
                  <c:v>304.00444444444463</c:v>
                </c:pt>
                <c:pt idx="134">
                  <c:v>304.00444444444463</c:v>
                </c:pt>
                <c:pt idx="135">
                  <c:v>304.00444444444463</c:v>
                </c:pt>
                <c:pt idx="136">
                  <c:v>304.00444444444463</c:v>
                </c:pt>
                <c:pt idx="137">
                  <c:v>304.00444444444463</c:v>
                </c:pt>
                <c:pt idx="138">
                  <c:v>304.00444444444463</c:v>
                </c:pt>
                <c:pt idx="139">
                  <c:v>304.00444444444463</c:v>
                </c:pt>
                <c:pt idx="140">
                  <c:v>304.00444444444463</c:v>
                </c:pt>
                <c:pt idx="141">
                  <c:v>304.00444444444463</c:v>
                </c:pt>
                <c:pt idx="142">
                  <c:v>304.00444444444463</c:v>
                </c:pt>
                <c:pt idx="143">
                  <c:v>304.00444444444463</c:v>
                </c:pt>
                <c:pt idx="144">
                  <c:v>304.00444444444463</c:v>
                </c:pt>
                <c:pt idx="145">
                  <c:v>304.00444444444463</c:v>
                </c:pt>
                <c:pt idx="146">
                  <c:v>304.00444444444463</c:v>
                </c:pt>
                <c:pt idx="147">
                  <c:v>304.00444444444463</c:v>
                </c:pt>
                <c:pt idx="148">
                  <c:v>304.00444444444463</c:v>
                </c:pt>
                <c:pt idx="149">
                  <c:v>304.00444444444463</c:v>
                </c:pt>
                <c:pt idx="150">
                  <c:v>304.00444444444463</c:v>
                </c:pt>
                <c:pt idx="151">
                  <c:v>304.00444444444463</c:v>
                </c:pt>
                <c:pt idx="152">
                  <c:v>304.00444444444463</c:v>
                </c:pt>
                <c:pt idx="153">
                  <c:v>304.00444444444463</c:v>
                </c:pt>
                <c:pt idx="154">
                  <c:v>304.00444444444463</c:v>
                </c:pt>
                <c:pt idx="155">
                  <c:v>304.00444444444463</c:v>
                </c:pt>
                <c:pt idx="156">
                  <c:v>304.00444444444463</c:v>
                </c:pt>
                <c:pt idx="157">
                  <c:v>304.00444444444463</c:v>
                </c:pt>
                <c:pt idx="158">
                  <c:v>304.00444444444463</c:v>
                </c:pt>
                <c:pt idx="159">
                  <c:v>304.00444444444463</c:v>
                </c:pt>
                <c:pt idx="160">
                  <c:v>304.00444444444463</c:v>
                </c:pt>
                <c:pt idx="161">
                  <c:v>304.00444444444463</c:v>
                </c:pt>
                <c:pt idx="162">
                  <c:v>304.00444444444463</c:v>
                </c:pt>
                <c:pt idx="163">
                  <c:v>304.00444444444463</c:v>
                </c:pt>
                <c:pt idx="164">
                  <c:v>304.00444444444463</c:v>
                </c:pt>
                <c:pt idx="165">
                  <c:v>304.00444444444463</c:v>
                </c:pt>
                <c:pt idx="166">
                  <c:v>304.00444444444463</c:v>
                </c:pt>
                <c:pt idx="167">
                  <c:v>304.00444444444463</c:v>
                </c:pt>
                <c:pt idx="168">
                  <c:v>304.00444444444463</c:v>
                </c:pt>
                <c:pt idx="169">
                  <c:v>304.00444444444463</c:v>
                </c:pt>
                <c:pt idx="170">
                  <c:v>304.00444444444463</c:v>
                </c:pt>
                <c:pt idx="171">
                  <c:v>304.00444444444463</c:v>
                </c:pt>
                <c:pt idx="172">
                  <c:v>304.00444444444463</c:v>
                </c:pt>
                <c:pt idx="173">
                  <c:v>304.00444444444463</c:v>
                </c:pt>
                <c:pt idx="174">
                  <c:v>304.00444444444463</c:v>
                </c:pt>
                <c:pt idx="175">
                  <c:v>304.00444444444463</c:v>
                </c:pt>
                <c:pt idx="176">
                  <c:v>304.00444444444463</c:v>
                </c:pt>
                <c:pt idx="177">
                  <c:v>304.00444444444463</c:v>
                </c:pt>
                <c:pt idx="178">
                  <c:v>304.00444444444463</c:v>
                </c:pt>
                <c:pt idx="179">
                  <c:v>304.00444444444463</c:v>
                </c:pt>
                <c:pt idx="180">
                  <c:v>304.00444444444463</c:v>
                </c:pt>
                <c:pt idx="181">
                  <c:v>304.00444444444463</c:v>
                </c:pt>
                <c:pt idx="182">
                  <c:v>304.00444444444463</c:v>
                </c:pt>
                <c:pt idx="183">
                  <c:v>304.00444444444463</c:v>
                </c:pt>
                <c:pt idx="184">
                  <c:v>304.00444444444463</c:v>
                </c:pt>
                <c:pt idx="185">
                  <c:v>304.00444444444463</c:v>
                </c:pt>
                <c:pt idx="186">
                  <c:v>304.00444444444463</c:v>
                </c:pt>
                <c:pt idx="187">
                  <c:v>304.00444444444463</c:v>
                </c:pt>
                <c:pt idx="188">
                  <c:v>304.00444444444463</c:v>
                </c:pt>
                <c:pt idx="189">
                  <c:v>304.00444444444463</c:v>
                </c:pt>
                <c:pt idx="190">
                  <c:v>304.00444444444463</c:v>
                </c:pt>
                <c:pt idx="191">
                  <c:v>304.00444444444463</c:v>
                </c:pt>
                <c:pt idx="192">
                  <c:v>304.00444444444463</c:v>
                </c:pt>
                <c:pt idx="193">
                  <c:v>304.00444444444463</c:v>
                </c:pt>
                <c:pt idx="194">
                  <c:v>304.00444444444463</c:v>
                </c:pt>
                <c:pt idx="195">
                  <c:v>304.00444444444463</c:v>
                </c:pt>
                <c:pt idx="196">
                  <c:v>304.00444444444463</c:v>
                </c:pt>
                <c:pt idx="197">
                  <c:v>304.00444444444463</c:v>
                </c:pt>
                <c:pt idx="198">
                  <c:v>304.00444444444463</c:v>
                </c:pt>
                <c:pt idx="199">
                  <c:v>304.00444444444463</c:v>
                </c:pt>
                <c:pt idx="200">
                  <c:v>304.00444444444463</c:v>
                </c:pt>
                <c:pt idx="201">
                  <c:v>304.00444444444463</c:v>
                </c:pt>
                <c:pt idx="202">
                  <c:v>304.00444444444463</c:v>
                </c:pt>
                <c:pt idx="203">
                  <c:v>304.00444444444463</c:v>
                </c:pt>
                <c:pt idx="204">
                  <c:v>304.00444444444463</c:v>
                </c:pt>
                <c:pt idx="205">
                  <c:v>304.00444444444463</c:v>
                </c:pt>
                <c:pt idx="206">
                  <c:v>304.00444444444463</c:v>
                </c:pt>
                <c:pt idx="207">
                  <c:v>304.00444444444463</c:v>
                </c:pt>
                <c:pt idx="208">
                  <c:v>304.00444444444463</c:v>
                </c:pt>
                <c:pt idx="209">
                  <c:v>304.00444444444463</c:v>
                </c:pt>
                <c:pt idx="210">
                  <c:v>304.00444444444463</c:v>
                </c:pt>
                <c:pt idx="211">
                  <c:v>304.00444444444463</c:v>
                </c:pt>
                <c:pt idx="212">
                  <c:v>304.00444444444463</c:v>
                </c:pt>
                <c:pt idx="213">
                  <c:v>304.00444444444463</c:v>
                </c:pt>
                <c:pt idx="214">
                  <c:v>304.00444444444463</c:v>
                </c:pt>
                <c:pt idx="215">
                  <c:v>304.00444444444463</c:v>
                </c:pt>
                <c:pt idx="216">
                  <c:v>304.00444444444463</c:v>
                </c:pt>
                <c:pt idx="217">
                  <c:v>304.00444444444463</c:v>
                </c:pt>
                <c:pt idx="218">
                  <c:v>304.00444444444463</c:v>
                </c:pt>
                <c:pt idx="219">
                  <c:v>304.00444444444463</c:v>
                </c:pt>
                <c:pt idx="220">
                  <c:v>304.00444444444463</c:v>
                </c:pt>
                <c:pt idx="221">
                  <c:v>304.00444444444463</c:v>
                </c:pt>
                <c:pt idx="222">
                  <c:v>304.00444444444463</c:v>
                </c:pt>
                <c:pt idx="223">
                  <c:v>304.00444444444463</c:v>
                </c:pt>
                <c:pt idx="224">
                  <c:v>304.00444444444463</c:v>
                </c:pt>
                <c:pt idx="225">
                  <c:v>304.00444444444463</c:v>
                </c:pt>
                <c:pt idx="226">
                  <c:v>304.00444444444463</c:v>
                </c:pt>
                <c:pt idx="227">
                  <c:v>304.00444444444463</c:v>
                </c:pt>
                <c:pt idx="228">
                  <c:v>304.00444444444463</c:v>
                </c:pt>
                <c:pt idx="229">
                  <c:v>304.00444444444463</c:v>
                </c:pt>
                <c:pt idx="230">
                  <c:v>304.00444444444463</c:v>
                </c:pt>
                <c:pt idx="231">
                  <c:v>304.00444444444463</c:v>
                </c:pt>
                <c:pt idx="232">
                  <c:v>304.00444444444463</c:v>
                </c:pt>
                <c:pt idx="233">
                  <c:v>304.00444444444463</c:v>
                </c:pt>
                <c:pt idx="234">
                  <c:v>304.00444444444463</c:v>
                </c:pt>
                <c:pt idx="235">
                  <c:v>304.00444444444463</c:v>
                </c:pt>
                <c:pt idx="236">
                  <c:v>304.00444444444463</c:v>
                </c:pt>
                <c:pt idx="237">
                  <c:v>304.00444444444463</c:v>
                </c:pt>
                <c:pt idx="238">
                  <c:v>304.00444444444463</c:v>
                </c:pt>
                <c:pt idx="239">
                  <c:v>304.00444444444463</c:v>
                </c:pt>
                <c:pt idx="240">
                  <c:v>304.00444444444463</c:v>
                </c:pt>
                <c:pt idx="241">
                  <c:v>304.00444444444463</c:v>
                </c:pt>
                <c:pt idx="242">
                  <c:v>304.00444444444463</c:v>
                </c:pt>
                <c:pt idx="243">
                  <c:v>304.00444444444463</c:v>
                </c:pt>
                <c:pt idx="244">
                  <c:v>304.00444444444463</c:v>
                </c:pt>
                <c:pt idx="245">
                  <c:v>304.00444444444463</c:v>
                </c:pt>
                <c:pt idx="246">
                  <c:v>304.00444444444463</c:v>
                </c:pt>
                <c:pt idx="247">
                  <c:v>304.00444444444463</c:v>
                </c:pt>
                <c:pt idx="248">
                  <c:v>304.00444444444463</c:v>
                </c:pt>
                <c:pt idx="249">
                  <c:v>304.00444444444463</c:v>
                </c:pt>
                <c:pt idx="250">
                  <c:v>304.00444444444463</c:v>
                </c:pt>
                <c:pt idx="251">
                  <c:v>304.00444444444463</c:v>
                </c:pt>
                <c:pt idx="252">
                  <c:v>304.00444444444463</c:v>
                </c:pt>
                <c:pt idx="253">
                  <c:v>304.00444444444463</c:v>
                </c:pt>
                <c:pt idx="254">
                  <c:v>304.00444444444463</c:v>
                </c:pt>
                <c:pt idx="255">
                  <c:v>304.00444444444463</c:v>
                </c:pt>
                <c:pt idx="256">
                  <c:v>304.00444444444463</c:v>
                </c:pt>
                <c:pt idx="257">
                  <c:v>304.00444444444463</c:v>
                </c:pt>
                <c:pt idx="258">
                  <c:v>304.00444444444463</c:v>
                </c:pt>
                <c:pt idx="259">
                  <c:v>304.00444444444463</c:v>
                </c:pt>
                <c:pt idx="260">
                  <c:v>304.00444444444463</c:v>
                </c:pt>
                <c:pt idx="261">
                  <c:v>304.00444444444463</c:v>
                </c:pt>
                <c:pt idx="262">
                  <c:v>304.00444444444463</c:v>
                </c:pt>
                <c:pt idx="263">
                  <c:v>304.00444444444463</c:v>
                </c:pt>
                <c:pt idx="264">
                  <c:v>304.00444444444463</c:v>
                </c:pt>
                <c:pt idx="265">
                  <c:v>304.00444444444463</c:v>
                </c:pt>
                <c:pt idx="266">
                  <c:v>304.00444444444463</c:v>
                </c:pt>
                <c:pt idx="267">
                  <c:v>304.00444444444463</c:v>
                </c:pt>
                <c:pt idx="268">
                  <c:v>304.00444444444463</c:v>
                </c:pt>
                <c:pt idx="269">
                  <c:v>304.00444444444463</c:v>
                </c:pt>
                <c:pt idx="270">
                  <c:v>304.00444444444463</c:v>
                </c:pt>
                <c:pt idx="271">
                  <c:v>304.00444444444463</c:v>
                </c:pt>
                <c:pt idx="272">
                  <c:v>304.00444444444463</c:v>
                </c:pt>
                <c:pt idx="273">
                  <c:v>304.00444444444463</c:v>
                </c:pt>
                <c:pt idx="274">
                  <c:v>304.00444444444463</c:v>
                </c:pt>
                <c:pt idx="275">
                  <c:v>304.00444444444463</c:v>
                </c:pt>
                <c:pt idx="276">
                  <c:v>304.00444444444463</c:v>
                </c:pt>
                <c:pt idx="277">
                  <c:v>304.00444444444463</c:v>
                </c:pt>
                <c:pt idx="278">
                  <c:v>304.00444444444463</c:v>
                </c:pt>
                <c:pt idx="279">
                  <c:v>304.00444444444463</c:v>
                </c:pt>
                <c:pt idx="280">
                  <c:v>304.00444444444463</c:v>
                </c:pt>
                <c:pt idx="281">
                  <c:v>304.00444444444463</c:v>
                </c:pt>
                <c:pt idx="282">
                  <c:v>304.00444444444463</c:v>
                </c:pt>
                <c:pt idx="283">
                  <c:v>304.00444444444463</c:v>
                </c:pt>
                <c:pt idx="284">
                  <c:v>304.00444444444463</c:v>
                </c:pt>
                <c:pt idx="285">
                  <c:v>304.00444444444463</c:v>
                </c:pt>
                <c:pt idx="286">
                  <c:v>304.00444444444463</c:v>
                </c:pt>
                <c:pt idx="287">
                  <c:v>304.00444444444463</c:v>
                </c:pt>
                <c:pt idx="288">
                  <c:v>304.00444444444463</c:v>
                </c:pt>
                <c:pt idx="289">
                  <c:v>304.00444444444463</c:v>
                </c:pt>
                <c:pt idx="290">
                  <c:v>304.00444444444463</c:v>
                </c:pt>
                <c:pt idx="291">
                  <c:v>304.00444444444463</c:v>
                </c:pt>
                <c:pt idx="292">
                  <c:v>304.00444444444463</c:v>
                </c:pt>
                <c:pt idx="293">
                  <c:v>304.00444444444463</c:v>
                </c:pt>
                <c:pt idx="294">
                  <c:v>304.00444444444463</c:v>
                </c:pt>
                <c:pt idx="295">
                  <c:v>304.00444444444463</c:v>
                </c:pt>
                <c:pt idx="296">
                  <c:v>304.00444444444463</c:v>
                </c:pt>
                <c:pt idx="297">
                  <c:v>304.00444444444463</c:v>
                </c:pt>
                <c:pt idx="298">
                  <c:v>304.00444444444463</c:v>
                </c:pt>
                <c:pt idx="299">
                  <c:v>304.00444444444463</c:v>
                </c:pt>
                <c:pt idx="300">
                  <c:v>304.00444444444463</c:v>
                </c:pt>
                <c:pt idx="301">
                  <c:v>304.00444444444463</c:v>
                </c:pt>
                <c:pt idx="302">
                  <c:v>304.00444444444463</c:v>
                </c:pt>
                <c:pt idx="303">
                  <c:v>304.00444444444463</c:v>
                </c:pt>
                <c:pt idx="304">
                  <c:v>304.00444444444463</c:v>
                </c:pt>
                <c:pt idx="305">
                  <c:v>304.00444444444463</c:v>
                </c:pt>
                <c:pt idx="306">
                  <c:v>304.00444444444463</c:v>
                </c:pt>
                <c:pt idx="307">
                  <c:v>304.00444444444463</c:v>
                </c:pt>
                <c:pt idx="308">
                  <c:v>304.00444444444463</c:v>
                </c:pt>
                <c:pt idx="309">
                  <c:v>304.00444444444463</c:v>
                </c:pt>
                <c:pt idx="310">
                  <c:v>304.00444444444463</c:v>
                </c:pt>
                <c:pt idx="311">
                  <c:v>304.00444444444463</c:v>
                </c:pt>
                <c:pt idx="312">
                  <c:v>304.00444444444463</c:v>
                </c:pt>
                <c:pt idx="313">
                  <c:v>304.00444444444463</c:v>
                </c:pt>
                <c:pt idx="314">
                  <c:v>304.00444444444463</c:v>
                </c:pt>
                <c:pt idx="315">
                  <c:v>304.00444444444463</c:v>
                </c:pt>
                <c:pt idx="316">
                  <c:v>304.00444444444463</c:v>
                </c:pt>
                <c:pt idx="317">
                  <c:v>304.00444444444463</c:v>
                </c:pt>
                <c:pt idx="318">
                  <c:v>304.00444444444463</c:v>
                </c:pt>
                <c:pt idx="319">
                  <c:v>304.00444444444463</c:v>
                </c:pt>
                <c:pt idx="320">
                  <c:v>304.00444444444463</c:v>
                </c:pt>
                <c:pt idx="321">
                  <c:v>304.00444444444463</c:v>
                </c:pt>
                <c:pt idx="322">
                  <c:v>304.00444444444463</c:v>
                </c:pt>
                <c:pt idx="323">
                  <c:v>304.00444444444463</c:v>
                </c:pt>
                <c:pt idx="324">
                  <c:v>304.00444444444463</c:v>
                </c:pt>
                <c:pt idx="325">
                  <c:v>304.00444444444463</c:v>
                </c:pt>
                <c:pt idx="326">
                  <c:v>304.00444444444463</c:v>
                </c:pt>
                <c:pt idx="327">
                  <c:v>304.00444444444463</c:v>
                </c:pt>
                <c:pt idx="328">
                  <c:v>304.00444444444463</c:v>
                </c:pt>
                <c:pt idx="329">
                  <c:v>304.00444444444463</c:v>
                </c:pt>
                <c:pt idx="330">
                  <c:v>304.00444444444463</c:v>
                </c:pt>
                <c:pt idx="331">
                  <c:v>304.00444444444463</c:v>
                </c:pt>
                <c:pt idx="332">
                  <c:v>304.00444444444463</c:v>
                </c:pt>
                <c:pt idx="333">
                  <c:v>304.00444444444463</c:v>
                </c:pt>
                <c:pt idx="334">
                  <c:v>304.00444444444463</c:v>
                </c:pt>
                <c:pt idx="335">
                  <c:v>304.00444444444463</c:v>
                </c:pt>
                <c:pt idx="336">
                  <c:v>304.00444444444463</c:v>
                </c:pt>
                <c:pt idx="337">
                  <c:v>304.00444444444463</c:v>
                </c:pt>
                <c:pt idx="338">
                  <c:v>304.00444444444463</c:v>
                </c:pt>
                <c:pt idx="339">
                  <c:v>304.00444444444463</c:v>
                </c:pt>
                <c:pt idx="340">
                  <c:v>304.00444444444463</c:v>
                </c:pt>
                <c:pt idx="341">
                  <c:v>304.00444444444463</c:v>
                </c:pt>
                <c:pt idx="342">
                  <c:v>304.00444444444463</c:v>
                </c:pt>
                <c:pt idx="343">
                  <c:v>304.00444444444463</c:v>
                </c:pt>
                <c:pt idx="344">
                  <c:v>304.00444444444463</c:v>
                </c:pt>
                <c:pt idx="345">
                  <c:v>304.00444444444463</c:v>
                </c:pt>
                <c:pt idx="346">
                  <c:v>304.00444444444463</c:v>
                </c:pt>
                <c:pt idx="347">
                  <c:v>304.00444444444463</c:v>
                </c:pt>
                <c:pt idx="348">
                  <c:v>304.00444444444463</c:v>
                </c:pt>
                <c:pt idx="349">
                  <c:v>304.00444444444463</c:v>
                </c:pt>
                <c:pt idx="350">
                  <c:v>304.00444444444463</c:v>
                </c:pt>
                <c:pt idx="351">
                  <c:v>304.00444444444463</c:v>
                </c:pt>
                <c:pt idx="352">
                  <c:v>304.00444444444463</c:v>
                </c:pt>
                <c:pt idx="353">
                  <c:v>304.00444444444463</c:v>
                </c:pt>
                <c:pt idx="354">
                  <c:v>304.00444444444463</c:v>
                </c:pt>
                <c:pt idx="355">
                  <c:v>304.00444444444463</c:v>
                </c:pt>
                <c:pt idx="356">
                  <c:v>304.00444444444463</c:v>
                </c:pt>
                <c:pt idx="357">
                  <c:v>304.00444444444463</c:v>
                </c:pt>
                <c:pt idx="358">
                  <c:v>304.00444444444463</c:v>
                </c:pt>
                <c:pt idx="359">
                  <c:v>304.00444444444463</c:v>
                </c:pt>
                <c:pt idx="360">
                  <c:v>304.00444444444463</c:v>
                </c:pt>
                <c:pt idx="361">
                  <c:v>304.00444444444463</c:v>
                </c:pt>
                <c:pt idx="362">
                  <c:v>304.00444444444463</c:v>
                </c:pt>
                <c:pt idx="363">
                  <c:v>304.00444444444463</c:v>
                </c:pt>
                <c:pt idx="364">
                  <c:v>304.00444444444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91C-4B28-9E00-67B282961EA2}"/>
            </c:ext>
          </c:extLst>
        </c:ser>
        <c:ser>
          <c:idx val="1"/>
          <c:order val="1"/>
          <c:tx>
            <c:v>APV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Automatisation bilan hydrique futur.xlsm]Bilan_hydrique'!$A$2:$A$366</c:f>
              <c:numCache>
                <c:formatCode>m/d/yyyy</c:formatCode>
                <c:ptCount val="365"/>
                <c:pt idx="0">
                  <c:v>42144</c:v>
                </c:pt>
                <c:pt idx="1">
                  <c:v>42145</c:v>
                </c:pt>
                <c:pt idx="2">
                  <c:v>42146</c:v>
                </c:pt>
                <c:pt idx="3">
                  <c:v>42147</c:v>
                </c:pt>
                <c:pt idx="4">
                  <c:v>42148</c:v>
                </c:pt>
                <c:pt idx="5">
                  <c:v>42149</c:v>
                </c:pt>
                <c:pt idx="6">
                  <c:v>42150</c:v>
                </c:pt>
                <c:pt idx="7">
                  <c:v>42151</c:v>
                </c:pt>
                <c:pt idx="8">
                  <c:v>42152</c:v>
                </c:pt>
                <c:pt idx="9">
                  <c:v>42153</c:v>
                </c:pt>
                <c:pt idx="10">
                  <c:v>42154</c:v>
                </c:pt>
                <c:pt idx="11">
                  <c:v>42155</c:v>
                </c:pt>
                <c:pt idx="12">
                  <c:v>42156</c:v>
                </c:pt>
                <c:pt idx="13">
                  <c:v>42157</c:v>
                </c:pt>
                <c:pt idx="14">
                  <c:v>42158</c:v>
                </c:pt>
                <c:pt idx="15">
                  <c:v>42159</c:v>
                </c:pt>
                <c:pt idx="16">
                  <c:v>42160</c:v>
                </c:pt>
                <c:pt idx="17">
                  <c:v>42161</c:v>
                </c:pt>
                <c:pt idx="18">
                  <c:v>42162</c:v>
                </c:pt>
                <c:pt idx="19">
                  <c:v>42163</c:v>
                </c:pt>
                <c:pt idx="20">
                  <c:v>42164</c:v>
                </c:pt>
                <c:pt idx="21">
                  <c:v>42165</c:v>
                </c:pt>
                <c:pt idx="22">
                  <c:v>42166</c:v>
                </c:pt>
                <c:pt idx="23">
                  <c:v>42167</c:v>
                </c:pt>
                <c:pt idx="24">
                  <c:v>42168</c:v>
                </c:pt>
                <c:pt idx="25">
                  <c:v>42169</c:v>
                </c:pt>
                <c:pt idx="26">
                  <c:v>42170</c:v>
                </c:pt>
                <c:pt idx="27">
                  <c:v>42171</c:v>
                </c:pt>
                <c:pt idx="28">
                  <c:v>42172</c:v>
                </c:pt>
                <c:pt idx="29">
                  <c:v>42173</c:v>
                </c:pt>
                <c:pt idx="30">
                  <c:v>42174</c:v>
                </c:pt>
                <c:pt idx="31">
                  <c:v>42175</c:v>
                </c:pt>
                <c:pt idx="32">
                  <c:v>42176</c:v>
                </c:pt>
                <c:pt idx="33">
                  <c:v>42177</c:v>
                </c:pt>
                <c:pt idx="34">
                  <c:v>42178</c:v>
                </c:pt>
                <c:pt idx="35">
                  <c:v>42179</c:v>
                </c:pt>
                <c:pt idx="36">
                  <c:v>42180</c:v>
                </c:pt>
                <c:pt idx="37">
                  <c:v>42181</c:v>
                </c:pt>
                <c:pt idx="38">
                  <c:v>42182</c:v>
                </c:pt>
                <c:pt idx="39">
                  <c:v>42183</c:v>
                </c:pt>
                <c:pt idx="40">
                  <c:v>42184</c:v>
                </c:pt>
                <c:pt idx="41">
                  <c:v>42185</c:v>
                </c:pt>
                <c:pt idx="42">
                  <c:v>42186</c:v>
                </c:pt>
                <c:pt idx="43">
                  <c:v>42187</c:v>
                </c:pt>
                <c:pt idx="44">
                  <c:v>42188</c:v>
                </c:pt>
                <c:pt idx="45">
                  <c:v>42189</c:v>
                </c:pt>
                <c:pt idx="46">
                  <c:v>42190</c:v>
                </c:pt>
                <c:pt idx="47">
                  <c:v>42191</c:v>
                </c:pt>
                <c:pt idx="48">
                  <c:v>42192</c:v>
                </c:pt>
                <c:pt idx="49">
                  <c:v>42193</c:v>
                </c:pt>
                <c:pt idx="50">
                  <c:v>42194</c:v>
                </c:pt>
                <c:pt idx="51">
                  <c:v>42195</c:v>
                </c:pt>
                <c:pt idx="52">
                  <c:v>42196</c:v>
                </c:pt>
                <c:pt idx="53">
                  <c:v>42197</c:v>
                </c:pt>
                <c:pt idx="54">
                  <c:v>42198</c:v>
                </c:pt>
                <c:pt idx="55">
                  <c:v>42199</c:v>
                </c:pt>
                <c:pt idx="56">
                  <c:v>42200</c:v>
                </c:pt>
                <c:pt idx="57">
                  <c:v>42201</c:v>
                </c:pt>
                <c:pt idx="58">
                  <c:v>42202</c:v>
                </c:pt>
                <c:pt idx="59">
                  <c:v>42203</c:v>
                </c:pt>
                <c:pt idx="60">
                  <c:v>42204</c:v>
                </c:pt>
                <c:pt idx="61">
                  <c:v>42205</c:v>
                </c:pt>
                <c:pt idx="62">
                  <c:v>42206</c:v>
                </c:pt>
                <c:pt idx="63">
                  <c:v>42207</c:v>
                </c:pt>
                <c:pt idx="64">
                  <c:v>42208</c:v>
                </c:pt>
                <c:pt idx="65">
                  <c:v>42209</c:v>
                </c:pt>
                <c:pt idx="66">
                  <c:v>42210</c:v>
                </c:pt>
                <c:pt idx="67">
                  <c:v>42211</c:v>
                </c:pt>
                <c:pt idx="68">
                  <c:v>42212</c:v>
                </c:pt>
                <c:pt idx="69">
                  <c:v>42213</c:v>
                </c:pt>
                <c:pt idx="70">
                  <c:v>42214</c:v>
                </c:pt>
                <c:pt idx="71">
                  <c:v>42215</c:v>
                </c:pt>
                <c:pt idx="72">
                  <c:v>42216</c:v>
                </c:pt>
                <c:pt idx="73">
                  <c:v>42217</c:v>
                </c:pt>
                <c:pt idx="74">
                  <c:v>42218</c:v>
                </c:pt>
                <c:pt idx="75">
                  <c:v>42219</c:v>
                </c:pt>
                <c:pt idx="76">
                  <c:v>42220</c:v>
                </c:pt>
                <c:pt idx="77">
                  <c:v>42221</c:v>
                </c:pt>
                <c:pt idx="78">
                  <c:v>42222</c:v>
                </c:pt>
                <c:pt idx="79">
                  <c:v>42223</c:v>
                </c:pt>
                <c:pt idx="80">
                  <c:v>42224</c:v>
                </c:pt>
                <c:pt idx="81">
                  <c:v>42225</c:v>
                </c:pt>
                <c:pt idx="82">
                  <c:v>42226</c:v>
                </c:pt>
                <c:pt idx="83">
                  <c:v>42227</c:v>
                </c:pt>
                <c:pt idx="84">
                  <c:v>42228</c:v>
                </c:pt>
                <c:pt idx="85">
                  <c:v>42229</c:v>
                </c:pt>
                <c:pt idx="86">
                  <c:v>42230</c:v>
                </c:pt>
                <c:pt idx="87">
                  <c:v>42231</c:v>
                </c:pt>
                <c:pt idx="88">
                  <c:v>42232</c:v>
                </c:pt>
                <c:pt idx="89">
                  <c:v>42233</c:v>
                </c:pt>
                <c:pt idx="90">
                  <c:v>42234</c:v>
                </c:pt>
                <c:pt idx="91">
                  <c:v>42235</c:v>
                </c:pt>
                <c:pt idx="92">
                  <c:v>42236</c:v>
                </c:pt>
                <c:pt idx="93">
                  <c:v>42237</c:v>
                </c:pt>
                <c:pt idx="94">
                  <c:v>42238</c:v>
                </c:pt>
                <c:pt idx="95">
                  <c:v>42239</c:v>
                </c:pt>
                <c:pt idx="96">
                  <c:v>42239</c:v>
                </c:pt>
                <c:pt idx="97">
                  <c:v>42239</c:v>
                </c:pt>
                <c:pt idx="98">
                  <c:v>42239</c:v>
                </c:pt>
                <c:pt idx="99">
                  <c:v>42239</c:v>
                </c:pt>
                <c:pt idx="100">
                  <c:v>42239</c:v>
                </c:pt>
                <c:pt idx="101">
                  <c:v>42239</c:v>
                </c:pt>
                <c:pt idx="102">
                  <c:v>42239</c:v>
                </c:pt>
                <c:pt idx="103">
                  <c:v>42239</c:v>
                </c:pt>
                <c:pt idx="104">
                  <c:v>42239</c:v>
                </c:pt>
                <c:pt idx="105">
                  <c:v>42239</c:v>
                </c:pt>
                <c:pt idx="106">
                  <c:v>42239</c:v>
                </c:pt>
                <c:pt idx="107">
                  <c:v>42239</c:v>
                </c:pt>
                <c:pt idx="108">
                  <c:v>42239</c:v>
                </c:pt>
                <c:pt idx="109">
                  <c:v>42239</c:v>
                </c:pt>
                <c:pt idx="110">
                  <c:v>42239</c:v>
                </c:pt>
                <c:pt idx="111">
                  <c:v>42239</c:v>
                </c:pt>
                <c:pt idx="112">
                  <c:v>42239</c:v>
                </c:pt>
                <c:pt idx="113">
                  <c:v>42239</c:v>
                </c:pt>
                <c:pt idx="114">
                  <c:v>42239</c:v>
                </c:pt>
                <c:pt idx="115">
                  <c:v>42239</c:v>
                </c:pt>
                <c:pt idx="116">
                  <c:v>42239</c:v>
                </c:pt>
                <c:pt idx="117">
                  <c:v>42239</c:v>
                </c:pt>
                <c:pt idx="118">
                  <c:v>42239</c:v>
                </c:pt>
                <c:pt idx="119">
                  <c:v>42239</c:v>
                </c:pt>
                <c:pt idx="120">
                  <c:v>42239</c:v>
                </c:pt>
                <c:pt idx="121">
                  <c:v>42239</c:v>
                </c:pt>
                <c:pt idx="122">
                  <c:v>42239</c:v>
                </c:pt>
                <c:pt idx="123">
                  <c:v>42239</c:v>
                </c:pt>
                <c:pt idx="124">
                  <c:v>42239</c:v>
                </c:pt>
                <c:pt idx="125">
                  <c:v>42239</c:v>
                </c:pt>
                <c:pt idx="126">
                  <c:v>42239</c:v>
                </c:pt>
                <c:pt idx="127">
                  <c:v>42239</c:v>
                </c:pt>
                <c:pt idx="128">
                  <c:v>42239</c:v>
                </c:pt>
                <c:pt idx="129">
                  <c:v>42239</c:v>
                </c:pt>
                <c:pt idx="130">
                  <c:v>42239</c:v>
                </c:pt>
                <c:pt idx="131">
                  <c:v>42239</c:v>
                </c:pt>
                <c:pt idx="132">
                  <c:v>42239</c:v>
                </c:pt>
                <c:pt idx="133">
                  <c:v>42239</c:v>
                </c:pt>
                <c:pt idx="134">
                  <c:v>42239</c:v>
                </c:pt>
                <c:pt idx="135">
                  <c:v>42239</c:v>
                </c:pt>
                <c:pt idx="136">
                  <c:v>42239</c:v>
                </c:pt>
                <c:pt idx="137">
                  <c:v>42239</c:v>
                </c:pt>
                <c:pt idx="138">
                  <c:v>42239</c:v>
                </c:pt>
                <c:pt idx="139">
                  <c:v>42239</c:v>
                </c:pt>
                <c:pt idx="140">
                  <c:v>42239</c:v>
                </c:pt>
                <c:pt idx="141">
                  <c:v>42239</c:v>
                </c:pt>
                <c:pt idx="142">
                  <c:v>42239</c:v>
                </c:pt>
                <c:pt idx="143">
                  <c:v>42239</c:v>
                </c:pt>
                <c:pt idx="144">
                  <c:v>42239</c:v>
                </c:pt>
                <c:pt idx="145">
                  <c:v>42239</c:v>
                </c:pt>
                <c:pt idx="146">
                  <c:v>42239</c:v>
                </c:pt>
                <c:pt idx="147">
                  <c:v>42239</c:v>
                </c:pt>
                <c:pt idx="148">
                  <c:v>42239</c:v>
                </c:pt>
                <c:pt idx="149">
                  <c:v>42239</c:v>
                </c:pt>
                <c:pt idx="150">
                  <c:v>42239</c:v>
                </c:pt>
                <c:pt idx="151">
                  <c:v>42239</c:v>
                </c:pt>
                <c:pt idx="152">
                  <c:v>42239</c:v>
                </c:pt>
                <c:pt idx="153">
                  <c:v>42239</c:v>
                </c:pt>
                <c:pt idx="154">
                  <c:v>42239</c:v>
                </c:pt>
                <c:pt idx="155">
                  <c:v>42239</c:v>
                </c:pt>
                <c:pt idx="156">
                  <c:v>42239</c:v>
                </c:pt>
                <c:pt idx="157">
                  <c:v>42239</c:v>
                </c:pt>
                <c:pt idx="158">
                  <c:v>42239</c:v>
                </c:pt>
                <c:pt idx="159">
                  <c:v>42239</c:v>
                </c:pt>
                <c:pt idx="160">
                  <c:v>42239</c:v>
                </c:pt>
                <c:pt idx="161">
                  <c:v>42239</c:v>
                </c:pt>
                <c:pt idx="162">
                  <c:v>42239</c:v>
                </c:pt>
                <c:pt idx="163">
                  <c:v>42239</c:v>
                </c:pt>
                <c:pt idx="164">
                  <c:v>42239</c:v>
                </c:pt>
                <c:pt idx="165">
                  <c:v>42239</c:v>
                </c:pt>
                <c:pt idx="166">
                  <c:v>42239</c:v>
                </c:pt>
                <c:pt idx="167">
                  <c:v>42239</c:v>
                </c:pt>
                <c:pt idx="168">
                  <c:v>42239</c:v>
                </c:pt>
                <c:pt idx="169">
                  <c:v>42239</c:v>
                </c:pt>
                <c:pt idx="170">
                  <c:v>42239</c:v>
                </c:pt>
                <c:pt idx="171">
                  <c:v>42239</c:v>
                </c:pt>
                <c:pt idx="172">
                  <c:v>42239</c:v>
                </c:pt>
                <c:pt idx="173">
                  <c:v>42239</c:v>
                </c:pt>
                <c:pt idx="174">
                  <c:v>42239</c:v>
                </c:pt>
                <c:pt idx="175">
                  <c:v>42239</c:v>
                </c:pt>
                <c:pt idx="176">
                  <c:v>42239</c:v>
                </c:pt>
                <c:pt idx="177">
                  <c:v>42239</c:v>
                </c:pt>
                <c:pt idx="178">
                  <c:v>42239</c:v>
                </c:pt>
                <c:pt idx="179">
                  <c:v>42239</c:v>
                </c:pt>
                <c:pt idx="180">
                  <c:v>42239</c:v>
                </c:pt>
                <c:pt idx="181">
                  <c:v>42239</c:v>
                </c:pt>
                <c:pt idx="182">
                  <c:v>42239</c:v>
                </c:pt>
                <c:pt idx="183">
                  <c:v>42239</c:v>
                </c:pt>
                <c:pt idx="184">
                  <c:v>42239</c:v>
                </c:pt>
                <c:pt idx="185">
                  <c:v>42239</c:v>
                </c:pt>
                <c:pt idx="186">
                  <c:v>42239</c:v>
                </c:pt>
                <c:pt idx="187">
                  <c:v>42239</c:v>
                </c:pt>
                <c:pt idx="188">
                  <c:v>42239</c:v>
                </c:pt>
                <c:pt idx="189">
                  <c:v>42239</c:v>
                </c:pt>
                <c:pt idx="190">
                  <c:v>42239</c:v>
                </c:pt>
                <c:pt idx="191">
                  <c:v>42239</c:v>
                </c:pt>
                <c:pt idx="192">
                  <c:v>42239</c:v>
                </c:pt>
                <c:pt idx="193">
                  <c:v>42239</c:v>
                </c:pt>
                <c:pt idx="194">
                  <c:v>42239</c:v>
                </c:pt>
                <c:pt idx="195">
                  <c:v>42239</c:v>
                </c:pt>
                <c:pt idx="196">
                  <c:v>42239</c:v>
                </c:pt>
                <c:pt idx="197">
                  <c:v>42239</c:v>
                </c:pt>
                <c:pt idx="198">
                  <c:v>42239</c:v>
                </c:pt>
                <c:pt idx="199">
                  <c:v>42239</c:v>
                </c:pt>
                <c:pt idx="200">
                  <c:v>42239</c:v>
                </c:pt>
                <c:pt idx="201">
                  <c:v>42239</c:v>
                </c:pt>
                <c:pt idx="202">
                  <c:v>42239</c:v>
                </c:pt>
                <c:pt idx="203">
                  <c:v>42239</c:v>
                </c:pt>
                <c:pt idx="204">
                  <c:v>42239</c:v>
                </c:pt>
                <c:pt idx="205">
                  <c:v>42239</c:v>
                </c:pt>
                <c:pt idx="206">
                  <c:v>42239</c:v>
                </c:pt>
                <c:pt idx="207">
                  <c:v>42239</c:v>
                </c:pt>
                <c:pt idx="208">
                  <c:v>42239</c:v>
                </c:pt>
                <c:pt idx="209">
                  <c:v>42239</c:v>
                </c:pt>
                <c:pt idx="210">
                  <c:v>42239</c:v>
                </c:pt>
                <c:pt idx="211">
                  <c:v>42239</c:v>
                </c:pt>
                <c:pt idx="212">
                  <c:v>42239</c:v>
                </c:pt>
                <c:pt idx="213">
                  <c:v>42239</c:v>
                </c:pt>
                <c:pt idx="214">
                  <c:v>42239</c:v>
                </c:pt>
                <c:pt idx="215">
                  <c:v>42239</c:v>
                </c:pt>
                <c:pt idx="216">
                  <c:v>42239</c:v>
                </c:pt>
                <c:pt idx="217">
                  <c:v>42239</c:v>
                </c:pt>
                <c:pt idx="218">
                  <c:v>42239</c:v>
                </c:pt>
                <c:pt idx="219">
                  <c:v>42239</c:v>
                </c:pt>
                <c:pt idx="220">
                  <c:v>42239</c:v>
                </c:pt>
                <c:pt idx="221">
                  <c:v>42239</c:v>
                </c:pt>
                <c:pt idx="222">
                  <c:v>42239</c:v>
                </c:pt>
                <c:pt idx="223">
                  <c:v>42239</c:v>
                </c:pt>
                <c:pt idx="224">
                  <c:v>42239</c:v>
                </c:pt>
                <c:pt idx="225">
                  <c:v>42239</c:v>
                </c:pt>
                <c:pt idx="226">
                  <c:v>42239</c:v>
                </c:pt>
                <c:pt idx="227">
                  <c:v>42239</c:v>
                </c:pt>
                <c:pt idx="228">
                  <c:v>42239</c:v>
                </c:pt>
                <c:pt idx="229">
                  <c:v>42239</c:v>
                </c:pt>
                <c:pt idx="230">
                  <c:v>42239</c:v>
                </c:pt>
                <c:pt idx="231">
                  <c:v>42239</c:v>
                </c:pt>
                <c:pt idx="232">
                  <c:v>42239</c:v>
                </c:pt>
                <c:pt idx="233">
                  <c:v>42239</c:v>
                </c:pt>
                <c:pt idx="234">
                  <c:v>42239</c:v>
                </c:pt>
                <c:pt idx="235">
                  <c:v>42239</c:v>
                </c:pt>
                <c:pt idx="236">
                  <c:v>42239</c:v>
                </c:pt>
                <c:pt idx="237">
                  <c:v>42239</c:v>
                </c:pt>
                <c:pt idx="238">
                  <c:v>42239</c:v>
                </c:pt>
                <c:pt idx="239">
                  <c:v>42239</c:v>
                </c:pt>
                <c:pt idx="240">
                  <c:v>42239</c:v>
                </c:pt>
                <c:pt idx="241">
                  <c:v>42239</c:v>
                </c:pt>
                <c:pt idx="242">
                  <c:v>42239</c:v>
                </c:pt>
                <c:pt idx="243">
                  <c:v>42239</c:v>
                </c:pt>
                <c:pt idx="244">
                  <c:v>42239</c:v>
                </c:pt>
                <c:pt idx="245">
                  <c:v>42239</c:v>
                </c:pt>
                <c:pt idx="246">
                  <c:v>42239</c:v>
                </c:pt>
                <c:pt idx="247">
                  <c:v>42239</c:v>
                </c:pt>
                <c:pt idx="248">
                  <c:v>42239</c:v>
                </c:pt>
                <c:pt idx="249">
                  <c:v>42239</c:v>
                </c:pt>
                <c:pt idx="250">
                  <c:v>42239</c:v>
                </c:pt>
                <c:pt idx="251">
                  <c:v>42239</c:v>
                </c:pt>
                <c:pt idx="252">
                  <c:v>42239</c:v>
                </c:pt>
                <c:pt idx="253">
                  <c:v>42239</c:v>
                </c:pt>
                <c:pt idx="254">
                  <c:v>42239</c:v>
                </c:pt>
                <c:pt idx="255">
                  <c:v>42239</c:v>
                </c:pt>
                <c:pt idx="256">
                  <c:v>42239</c:v>
                </c:pt>
                <c:pt idx="257">
                  <c:v>42239</c:v>
                </c:pt>
                <c:pt idx="258">
                  <c:v>42239</c:v>
                </c:pt>
                <c:pt idx="259">
                  <c:v>42239</c:v>
                </c:pt>
                <c:pt idx="260">
                  <c:v>42239</c:v>
                </c:pt>
                <c:pt idx="261">
                  <c:v>42239</c:v>
                </c:pt>
                <c:pt idx="262">
                  <c:v>42239</c:v>
                </c:pt>
                <c:pt idx="263">
                  <c:v>42239</c:v>
                </c:pt>
                <c:pt idx="264">
                  <c:v>42239</c:v>
                </c:pt>
                <c:pt idx="265">
                  <c:v>42239</c:v>
                </c:pt>
                <c:pt idx="266">
                  <c:v>42239</c:v>
                </c:pt>
                <c:pt idx="267">
                  <c:v>42239</c:v>
                </c:pt>
                <c:pt idx="268">
                  <c:v>42239</c:v>
                </c:pt>
                <c:pt idx="269">
                  <c:v>42239</c:v>
                </c:pt>
                <c:pt idx="270">
                  <c:v>42239</c:v>
                </c:pt>
                <c:pt idx="271">
                  <c:v>42239</c:v>
                </c:pt>
                <c:pt idx="272">
                  <c:v>42239</c:v>
                </c:pt>
                <c:pt idx="273">
                  <c:v>42239</c:v>
                </c:pt>
                <c:pt idx="274">
                  <c:v>42239</c:v>
                </c:pt>
                <c:pt idx="275">
                  <c:v>42239</c:v>
                </c:pt>
                <c:pt idx="276">
                  <c:v>42239</c:v>
                </c:pt>
                <c:pt idx="277">
                  <c:v>42239</c:v>
                </c:pt>
                <c:pt idx="278">
                  <c:v>42239</c:v>
                </c:pt>
                <c:pt idx="279">
                  <c:v>42239</c:v>
                </c:pt>
                <c:pt idx="280">
                  <c:v>42239</c:v>
                </c:pt>
                <c:pt idx="281">
                  <c:v>42239</c:v>
                </c:pt>
                <c:pt idx="282">
                  <c:v>42239</c:v>
                </c:pt>
                <c:pt idx="283">
                  <c:v>42239</c:v>
                </c:pt>
                <c:pt idx="284">
                  <c:v>42239</c:v>
                </c:pt>
                <c:pt idx="285">
                  <c:v>42239</c:v>
                </c:pt>
                <c:pt idx="286">
                  <c:v>42239</c:v>
                </c:pt>
                <c:pt idx="287">
                  <c:v>42239</c:v>
                </c:pt>
                <c:pt idx="288">
                  <c:v>42239</c:v>
                </c:pt>
                <c:pt idx="289">
                  <c:v>42239</c:v>
                </c:pt>
                <c:pt idx="290">
                  <c:v>42239</c:v>
                </c:pt>
                <c:pt idx="291">
                  <c:v>42239</c:v>
                </c:pt>
                <c:pt idx="292">
                  <c:v>42239</c:v>
                </c:pt>
                <c:pt idx="293">
                  <c:v>42239</c:v>
                </c:pt>
                <c:pt idx="294">
                  <c:v>42239</c:v>
                </c:pt>
                <c:pt idx="295">
                  <c:v>42239</c:v>
                </c:pt>
                <c:pt idx="296">
                  <c:v>42239</c:v>
                </c:pt>
                <c:pt idx="297">
                  <c:v>42239</c:v>
                </c:pt>
                <c:pt idx="298">
                  <c:v>42239</c:v>
                </c:pt>
                <c:pt idx="299">
                  <c:v>42239</c:v>
                </c:pt>
                <c:pt idx="300">
                  <c:v>42239</c:v>
                </c:pt>
                <c:pt idx="301">
                  <c:v>42239</c:v>
                </c:pt>
                <c:pt idx="302">
                  <c:v>42239</c:v>
                </c:pt>
                <c:pt idx="303">
                  <c:v>42239</c:v>
                </c:pt>
                <c:pt idx="304">
                  <c:v>42239</c:v>
                </c:pt>
                <c:pt idx="305">
                  <c:v>42239</c:v>
                </c:pt>
                <c:pt idx="306">
                  <c:v>42239</c:v>
                </c:pt>
                <c:pt idx="307">
                  <c:v>42239</c:v>
                </c:pt>
                <c:pt idx="308">
                  <c:v>42239</c:v>
                </c:pt>
                <c:pt idx="309">
                  <c:v>42239</c:v>
                </c:pt>
                <c:pt idx="310">
                  <c:v>42239</c:v>
                </c:pt>
                <c:pt idx="311">
                  <c:v>42239</c:v>
                </c:pt>
                <c:pt idx="312">
                  <c:v>42239</c:v>
                </c:pt>
                <c:pt idx="313">
                  <c:v>42239</c:v>
                </c:pt>
                <c:pt idx="314">
                  <c:v>42239</c:v>
                </c:pt>
                <c:pt idx="315">
                  <c:v>42239</c:v>
                </c:pt>
                <c:pt idx="316">
                  <c:v>42239</c:v>
                </c:pt>
                <c:pt idx="317">
                  <c:v>42239</c:v>
                </c:pt>
                <c:pt idx="318">
                  <c:v>42239</c:v>
                </c:pt>
                <c:pt idx="319">
                  <c:v>42239</c:v>
                </c:pt>
                <c:pt idx="320">
                  <c:v>42239</c:v>
                </c:pt>
                <c:pt idx="321">
                  <c:v>42239</c:v>
                </c:pt>
                <c:pt idx="322">
                  <c:v>42239</c:v>
                </c:pt>
                <c:pt idx="323">
                  <c:v>42239</c:v>
                </c:pt>
                <c:pt idx="324">
                  <c:v>42239</c:v>
                </c:pt>
                <c:pt idx="325">
                  <c:v>42239</c:v>
                </c:pt>
                <c:pt idx="326">
                  <c:v>42239</c:v>
                </c:pt>
                <c:pt idx="327">
                  <c:v>42239</c:v>
                </c:pt>
                <c:pt idx="328">
                  <c:v>42239</c:v>
                </c:pt>
                <c:pt idx="329">
                  <c:v>42239</c:v>
                </c:pt>
                <c:pt idx="330">
                  <c:v>42239</c:v>
                </c:pt>
                <c:pt idx="331">
                  <c:v>42239</c:v>
                </c:pt>
                <c:pt idx="332">
                  <c:v>42239</c:v>
                </c:pt>
                <c:pt idx="333">
                  <c:v>42239</c:v>
                </c:pt>
                <c:pt idx="334">
                  <c:v>42239</c:v>
                </c:pt>
                <c:pt idx="335">
                  <c:v>42239</c:v>
                </c:pt>
                <c:pt idx="336">
                  <c:v>42239</c:v>
                </c:pt>
                <c:pt idx="337">
                  <c:v>42239</c:v>
                </c:pt>
                <c:pt idx="338">
                  <c:v>42239</c:v>
                </c:pt>
                <c:pt idx="339">
                  <c:v>42239</c:v>
                </c:pt>
                <c:pt idx="340">
                  <c:v>42239</c:v>
                </c:pt>
                <c:pt idx="341">
                  <c:v>42239</c:v>
                </c:pt>
                <c:pt idx="342">
                  <c:v>42239</c:v>
                </c:pt>
                <c:pt idx="343">
                  <c:v>42239</c:v>
                </c:pt>
                <c:pt idx="344">
                  <c:v>42239</c:v>
                </c:pt>
                <c:pt idx="345">
                  <c:v>42239</c:v>
                </c:pt>
                <c:pt idx="346">
                  <c:v>42239</c:v>
                </c:pt>
                <c:pt idx="347">
                  <c:v>42239</c:v>
                </c:pt>
                <c:pt idx="348">
                  <c:v>42239</c:v>
                </c:pt>
                <c:pt idx="349">
                  <c:v>42239</c:v>
                </c:pt>
                <c:pt idx="350">
                  <c:v>42239</c:v>
                </c:pt>
                <c:pt idx="351">
                  <c:v>42239</c:v>
                </c:pt>
                <c:pt idx="352">
                  <c:v>42239</c:v>
                </c:pt>
                <c:pt idx="353">
                  <c:v>42239</c:v>
                </c:pt>
                <c:pt idx="354">
                  <c:v>42239</c:v>
                </c:pt>
                <c:pt idx="355">
                  <c:v>42239</c:v>
                </c:pt>
                <c:pt idx="356">
                  <c:v>42239</c:v>
                </c:pt>
                <c:pt idx="357">
                  <c:v>42239</c:v>
                </c:pt>
                <c:pt idx="358">
                  <c:v>42239</c:v>
                </c:pt>
                <c:pt idx="359">
                  <c:v>42239</c:v>
                </c:pt>
                <c:pt idx="360">
                  <c:v>42239</c:v>
                </c:pt>
                <c:pt idx="361">
                  <c:v>42239</c:v>
                </c:pt>
                <c:pt idx="362">
                  <c:v>42239</c:v>
                </c:pt>
                <c:pt idx="363">
                  <c:v>42239</c:v>
                </c:pt>
                <c:pt idx="364">
                  <c:v>42239</c:v>
                </c:pt>
              </c:numCache>
            </c:numRef>
          </c:cat>
          <c:val>
            <c:numRef>
              <c:f>'[Automatisation bilan hydrique futur.xlsm]Bilan_hydrique'!$R$2:$R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15.200222222222223</c:v>
                </c:pt>
                <c:pt idx="38">
                  <c:v>15.200222222222223</c:v>
                </c:pt>
                <c:pt idx="39">
                  <c:v>15.200222222222223</c:v>
                </c:pt>
                <c:pt idx="40">
                  <c:v>30.400444444444446</c:v>
                </c:pt>
                <c:pt idx="41">
                  <c:v>30.400444444444446</c:v>
                </c:pt>
                <c:pt idx="42">
                  <c:v>45.600666666666669</c:v>
                </c:pt>
                <c:pt idx="43">
                  <c:v>45.600666666666669</c:v>
                </c:pt>
                <c:pt idx="44">
                  <c:v>60.800888888888892</c:v>
                </c:pt>
                <c:pt idx="45">
                  <c:v>60.800888888888892</c:v>
                </c:pt>
                <c:pt idx="46">
                  <c:v>76.001111111111115</c:v>
                </c:pt>
                <c:pt idx="47">
                  <c:v>76.001111111111115</c:v>
                </c:pt>
                <c:pt idx="48">
                  <c:v>91.201333333333338</c:v>
                </c:pt>
                <c:pt idx="49">
                  <c:v>91.201333333333338</c:v>
                </c:pt>
                <c:pt idx="50">
                  <c:v>91.201333333333338</c:v>
                </c:pt>
                <c:pt idx="51">
                  <c:v>106.40155555555556</c:v>
                </c:pt>
                <c:pt idx="52">
                  <c:v>106.40155555555556</c:v>
                </c:pt>
                <c:pt idx="53">
                  <c:v>121.60177777777778</c:v>
                </c:pt>
                <c:pt idx="54">
                  <c:v>121.60177777777778</c:v>
                </c:pt>
                <c:pt idx="55">
                  <c:v>136.80200000000002</c:v>
                </c:pt>
                <c:pt idx="56">
                  <c:v>136.80200000000002</c:v>
                </c:pt>
                <c:pt idx="57">
                  <c:v>136.80200000000002</c:v>
                </c:pt>
                <c:pt idx="58">
                  <c:v>152.00222222222226</c:v>
                </c:pt>
                <c:pt idx="59">
                  <c:v>152.00222222222226</c:v>
                </c:pt>
                <c:pt idx="60">
                  <c:v>152.00222222222226</c:v>
                </c:pt>
                <c:pt idx="61">
                  <c:v>167.2024444444445</c:v>
                </c:pt>
                <c:pt idx="62">
                  <c:v>167.2024444444445</c:v>
                </c:pt>
                <c:pt idx="63">
                  <c:v>167.2024444444445</c:v>
                </c:pt>
                <c:pt idx="64">
                  <c:v>167.2024444444445</c:v>
                </c:pt>
                <c:pt idx="65">
                  <c:v>182.40266666666673</c:v>
                </c:pt>
                <c:pt idx="66">
                  <c:v>182.40266666666673</c:v>
                </c:pt>
                <c:pt idx="67">
                  <c:v>182.40266666666673</c:v>
                </c:pt>
                <c:pt idx="68">
                  <c:v>197.60288888888897</c:v>
                </c:pt>
                <c:pt idx="69">
                  <c:v>197.60288888888897</c:v>
                </c:pt>
                <c:pt idx="70">
                  <c:v>197.60288888888897</c:v>
                </c:pt>
                <c:pt idx="71">
                  <c:v>197.60288888888897</c:v>
                </c:pt>
                <c:pt idx="72">
                  <c:v>197.60288888888897</c:v>
                </c:pt>
                <c:pt idx="73">
                  <c:v>197.60288888888897</c:v>
                </c:pt>
                <c:pt idx="74">
                  <c:v>212.80311111111121</c:v>
                </c:pt>
                <c:pt idx="75">
                  <c:v>212.80311111111121</c:v>
                </c:pt>
                <c:pt idx="76">
                  <c:v>212.80311111111121</c:v>
                </c:pt>
                <c:pt idx="77">
                  <c:v>212.80311111111121</c:v>
                </c:pt>
                <c:pt idx="78">
                  <c:v>212.80311111111121</c:v>
                </c:pt>
                <c:pt idx="79">
                  <c:v>212.80311111111121</c:v>
                </c:pt>
                <c:pt idx="80">
                  <c:v>212.80311111111121</c:v>
                </c:pt>
                <c:pt idx="81">
                  <c:v>212.80311111111121</c:v>
                </c:pt>
                <c:pt idx="82">
                  <c:v>212.80311111111121</c:v>
                </c:pt>
                <c:pt idx="83">
                  <c:v>212.80311111111121</c:v>
                </c:pt>
                <c:pt idx="84">
                  <c:v>212.80311111111121</c:v>
                </c:pt>
                <c:pt idx="85">
                  <c:v>212.80311111111121</c:v>
                </c:pt>
                <c:pt idx="86">
                  <c:v>212.80311111111121</c:v>
                </c:pt>
                <c:pt idx="87">
                  <c:v>212.80311111111121</c:v>
                </c:pt>
                <c:pt idx="88">
                  <c:v>212.80311111111121</c:v>
                </c:pt>
                <c:pt idx="89">
                  <c:v>212.80311111111121</c:v>
                </c:pt>
                <c:pt idx="90">
                  <c:v>212.80311111111121</c:v>
                </c:pt>
                <c:pt idx="91">
                  <c:v>212.80311111111121</c:v>
                </c:pt>
                <c:pt idx="92">
                  <c:v>212.80311111111121</c:v>
                </c:pt>
                <c:pt idx="93">
                  <c:v>212.80311111111121</c:v>
                </c:pt>
                <c:pt idx="94">
                  <c:v>212.80311111111121</c:v>
                </c:pt>
                <c:pt idx="95">
                  <c:v>212.80311111111121</c:v>
                </c:pt>
                <c:pt idx="96">
                  <c:v>212.80311111111121</c:v>
                </c:pt>
                <c:pt idx="97">
                  <c:v>212.80311111111121</c:v>
                </c:pt>
                <c:pt idx="98">
                  <c:v>212.80311111111121</c:v>
                </c:pt>
                <c:pt idx="99">
                  <c:v>212.80311111111121</c:v>
                </c:pt>
                <c:pt idx="100">
                  <c:v>212.80311111111121</c:v>
                </c:pt>
                <c:pt idx="101">
                  <c:v>212.80311111111121</c:v>
                </c:pt>
                <c:pt idx="102">
                  <c:v>212.80311111111121</c:v>
                </c:pt>
                <c:pt idx="103">
                  <c:v>212.80311111111121</c:v>
                </c:pt>
                <c:pt idx="104">
                  <c:v>212.80311111111121</c:v>
                </c:pt>
                <c:pt idx="105">
                  <c:v>212.80311111111121</c:v>
                </c:pt>
                <c:pt idx="106">
                  <c:v>212.80311111111121</c:v>
                </c:pt>
                <c:pt idx="107">
                  <c:v>212.80311111111121</c:v>
                </c:pt>
                <c:pt idx="108">
                  <c:v>212.80311111111121</c:v>
                </c:pt>
                <c:pt idx="109">
                  <c:v>212.80311111111121</c:v>
                </c:pt>
                <c:pt idx="110">
                  <c:v>212.80311111111121</c:v>
                </c:pt>
                <c:pt idx="111">
                  <c:v>212.80311111111121</c:v>
                </c:pt>
                <c:pt idx="112">
                  <c:v>212.80311111111121</c:v>
                </c:pt>
                <c:pt idx="113">
                  <c:v>212.80311111111121</c:v>
                </c:pt>
                <c:pt idx="114">
                  <c:v>212.80311111111121</c:v>
                </c:pt>
                <c:pt idx="115">
                  <c:v>212.80311111111121</c:v>
                </c:pt>
                <c:pt idx="116">
                  <c:v>212.80311111111121</c:v>
                </c:pt>
                <c:pt idx="117">
                  <c:v>212.80311111111121</c:v>
                </c:pt>
                <c:pt idx="118">
                  <c:v>212.80311111111121</c:v>
                </c:pt>
                <c:pt idx="119">
                  <c:v>212.80311111111121</c:v>
                </c:pt>
                <c:pt idx="120">
                  <c:v>212.80311111111121</c:v>
                </c:pt>
                <c:pt idx="121">
                  <c:v>212.80311111111121</c:v>
                </c:pt>
                <c:pt idx="122">
                  <c:v>212.80311111111121</c:v>
                </c:pt>
                <c:pt idx="123">
                  <c:v>212.80311111111121</c:v>
                </c:pt>
                <c:pt idx="124">
                  <c:v>212.80311111111121</c:v>
                </c:pt>
                <c:pt idx="125">
                  <c:v>212.80311111111121</c:v>
                </c:pt>
                <c:pt idx="126">
                  <c:v>212.80311111111121</c:v>
                </c:pt>
                <c:pt idx="127">
                  <c:v>212.80311111111121</c:v>
                </c:pt>
                <c:pt idx="128">
                  <c:v>212.80311111111121</c:v>
                </c:pt>
                <c:pt idx="129">
                  <c:v>212.80311111111121</c:v>
                </c:pt>
                <c:pt idx="130">
                  <c:v>212.80311111111121</c:v>
                </c:pt>
                <c:pt idx="131">
                  <c:v>212.80311111111121</c:v>
                </c:pt>
                <c:pt idx="132">
                  <c:v>212.80311111111121</c:v>
                </c:pt>
                <c:pt idx="133">
                  <c:v>212.80311111111121</c:v>
                </c:pt>
                <c:pt idx="134">
                  <c:v>212.80311111111121</c:v>
                </c:pt>
                <c:pt idx="135">
                  <c:v>212.80311111111121</c:v>
                </c:pt>
                <c:pt idx="136">
                  <c:v>212.80311111111121</c:v>
                </c:pt>
                <c:pt idx="137">
                  <c:v>212.80311111111121</c:v>
                </c:pt>
                <c:pt idx="138">
                  <c:v>212.80311111111121</c:v>
                </c:pt>
                <c:pt idx="139">
                  <c:v>212.80311111111121</c:v>
                </c:pt>
                <c:pt idx="140">
                  <c:v>212.80311111111121</c:v>
                </c:pt>
                <c:pt idx="141">
                  <c:v>212.80311111111121</c:v>
                </c:pt>
                <c:pt idx="142">
                  <c:v>212.80311111111121</c:v>
                </c:pt>
                <c:pt idx="143">
                  <c:v>212.80311111111121</c:v>
                </c:pt>
                <c:pt idx="144">
                  <c:v>212.80311111111121</c:v>
                </c:pt>
                <c:pt idx="145">
                  <c:v>212.80311111111121</c:v>
                </c:pt>
                <c:pt idx="146">
                  <c:v>212.80311111111121</c:v>
                </c:pt>
                <c:pt idx="147">
                  <c:v>212.80311111111121</c:v>
                </c:pt>
                <c:pt idx="148">
                  <c:v>212.80311111111121</c:v>
                </c:pt>
                <c:pt idx="149">
                  <c:v>212.80311111111121</c:v>
                </c:pt>
                <c:pt idx="150">
                  <c:v>212.80311111111121</c:v>
                </c:pt>
                <c:pt idx="151">
                  <c:v>212.80311111111121</c:v>
                </c:pt>
                <c:pt idx="152">
                  <c:v>212.80311111111121</c:v>
                </c:pt>
                <c:pt idx="153">
                  <c:v>212.80311111111121</c:v>
                </c:pt>
                <c:pt idx="154">
                  <c:v>212.80311111111121</c:v>
                </c:pt>
                <c:pt idx="155">
                  <c:v>212.80311111111121</c:v>
                </c:pt>
                <c:pt idx="156">
                  <c:v>212.80311111111121</c:v>
                </c:pt>
                <c:pt idx="157">
                  <c:v>212.80311111111121</c:v>
                </c:pt>
                <c:pt idx="158">
                  <c:v>212.80311111111121</c:v>
                </c:pt>
                <c:pt idx="159">
                  <c:v>212.80311111111121</c:v>
                </c:pt>
                <c:pt idx="160">
                  <c:v>212.80311111111121</c:v>
                </c:pt>
                <c:pt idx="161">
                  <c:v>212.80311111111121</c:v>
                </c:pt>
                <c:pt idx="162">
                  <c:v>212.80311111111121</c:v>
                </c:pt>
                <c:pt idx="163">
                  <c:v>212.80311111111121</c:v>
                </c:pt>
                <c:pt idx="164">
                  <c:v>212.80311111111121</c:v>
                </c:pt>
                <c:pt idx="165">
                  <c:v>212.80311111111121</c:v>
                </c:pt>
                <c:pt idx="166">
                  <c:v>212.80311111111121</c:v>
                </c:pt>
                <c:pt idx="167">
                  <c:v>212.80311111111121</c:v>
                </c:pt>
                <c:pt idx="168">
                  <c:v>212.80311111111121</c:v>
                </c:pt>
                <c:pt idx="169">
                  <c:v>212.80311111111121</c:v>
                </c:pt>
                <c:pt idx="170">
                  <c:v>212.80311111111121</c:v>
                </c:pt>
                <c:pt idx="171">
                  <c:v>212.80311111111121</c:v>
                </c:pt>
                <c:pt idx="172">
                  <c:v>212.80311111111121</c:v>
                </c:pt>
                <c:pt idx="173">
                  <c:v>212.80311111111121</c:v>
                </c:pt>
                <c:pt idx="174">
                  <c:v>212.80311111111121</c:v>
                </c:pt>
                <c:pt idx="175">
                  <c:v>212.80311111111121</c:v>
                </c:pt>
                <c:pt idx="176">
                  <c:v>212.80311111111121</c:v>
                </c:pt>
                <c:pt idx="177">
                  <c:v>212.80311111111121</c:v>
                </c:pt>
                <c:pt idx="178">
                  <c:v>212.80311111111121</c:v>
                </c:pt>
                <c:pt idx="179">
                  <c:v>212.80311111111121</c:v>
                </c:pt>
                <c:pt idx="180">
                  <c:v>212.80311111111121</c:v>
                </c:pt>
                <c:pt idx="181">
                  <c:v>212.80311111111121</c:v>
                </c:pt>
                <c:pt idx="182">
                  <c:v>212.80311111111121</c:v>
                </c:pt>
                <c:pt idx="183">
                  <c:v>212.80311111111121</c:v>
                </c:pt>
                <c:pt idx="184">
                  <c:v>212.80311111111121</c:v>
                </c:pt>
                <c:pt idx="185">
                  <c:v>212.80311111111121</c:v>
                </c:pt>
                <c:pt idx="186">
                  <c:v>212.80311111111121</c:v>
                </c:pt>
                <c:pt idx="187">
                  <c:v>212.80311111111121</c:v>
                </c:pt>
                <c:pt idx="188">
                  <c:v>212.80311111111121</c:v>
                </c:pt>
                <c:pt idx="189">
                  <c:v>212.80311111111121</c:v>
                </c:pt>
                <c:pt idx="190">
                  <c:v>212.80311111111121</c:v>
                </c:pt>
                <c:pt idx="191">
                  <c:v>212.80311111111121</c:v>
                </c:pt>
                <c:pt idx="192">
                  <c:v>212.80311111111121</c:v>
                </c:pt>
                <c:pt idx="193">
                  <c:v>212.80311111111121</c:v>
                </c:pt>
                <c:pt idx="194">
                  <c:v>212.80311111111121</c:v>
                </c:pt>
                <c:pt idx="195">
                  <c:v>212.80311111111121</c:v>
                </c:pt>
                <c:pt idx="196">
                  <c:v>212.80311111111121</c:v>
                </c:pt>
                <c:pt idx="197">
                  <c:v>212.80311111111121</c:v>
                </c:pt>
                <c:pt idx="198">
                  <c:v>212.80311111111121</c:v>
                </c:pt>
                <c:pt idx="199">
                  <c:v>212.80311111111121</c:v>
                </c:pt>
                <c:pt idx="200">
                  <c:v>212.80311111111121</c:v>
                </c:pt>
                <c:pt idx="201">
                  <c:v>212.80311111111121</c:v>
                </c:pt>
                <c:pt idx="202">
                  <c:v>212.80311111111121</c:v>
                </c:pt>
                <c:pt idx="203">
                  <c:v>212.80311111111121</c:v>
                </c:pt>
                <c:pt idx="204">
                  <c:v>212.80311111111121</c:v>
                </c:pt>
                <c:pt idx="205">
                  <c:v>212.80311111111121</c:v>
                </c:pt>
                <c:pt idx="206">
                  <c:v>212.80311111111121</c:v>
                </c:pt>
                <c:pt idx="207">
                  <c:v>212.80311111111121</c:v>
                </c:pt>
                <c:pt idx="208">
                  <c:v>212.80311111111121</c:v>
                </c:pt>
                <c:pt idx="209">
                  <c:v>212.80311111111121</c:v>
                </c:pt>
                <c:pt idx="210">
                  <c:v>212.80311111111121</c:v>
                </c:pt>
                <c:pt idx="211">
                  <c:v>212.80311111111121</c:v>
                </c:pt>
                <c:pt idx="212">
                  <c:v>212.80311111111121</c:v>
                </c:pt>
                <c:pt idx="213">
                  <c:v>212.80311111111121</c:v>
                </c:pt>
                <c:pt idx="214">
                  <c:v>212.80311111111121</c:v>
                </c:pt>
                <c:pt idx="215">
                  <c:v>212.80311111111121</c:v>
                </c:pt>
                <c:pt idx="216">
                  <c:v>212.80311111111121</c:v>
                </c:pt>
                <c:pt idx="217">
                  <c:v>212.80311111111121</c:v>
                </c:pt>
                <c:pt idx="218">
                  <c:v>212.80311111111121</c:v>
                </c:pt>
                <c:pt idx="219">
                  <c:v>212.80311111111121</c:v>
                </c:pt>
                <c:pt idx="220">
                  <c:v>212.80311111111121</c:v>
                </c:pt>
                <c:pt idx="221">
                  <c:v>212.80311111111121</c:v>
                </c:pt>
                <c:pt idx="222">
                  <c:v>212.80311111111121</c:v>
                </c:pt>
                <c:pt idx="223">
                  <c:v>212.80311111111121</c:v>
                </c:pt>
                <c:pt idx="224">
                  <c:v>212.80311111111121</c:v>
                </c:pt>
                <c:pt idx="225">
                  <c:v>212.80311111111121</c:v>
                </c:pt>
                <c:pt idx="226">
                  <c:v>212.80311111111121</c:v>
                </c:pt>
                <c:pt idx="227">
                  <c:v>212.80311111111121</c:v>
                </c:pt>
                <c:pt idx="228">
                  <c:v>212.80311111111121</c:v>
                </c:pt>
                <c:pt idx="229">
                  <c:v>212.80311111111121</c:v>
                </c:pt>
                <c:pt idx="230">
                  <c:v>212.80311111111121</c:v>
                </c:pt>
                <c:pt idx="231">
                  <c:v>212.80311111111121</c:v>
                </c:pt>
                <c:pt idx="232">
                  <c:v>212.80311111111121</c:v>
                </c:pt>
                <c:pt idx="233">
                  <c:v>212.80311111111121</c:v>
                </c:pt>
                <c:pt idx="234">
                  <c:v>212.80311111111121</c:v>
                </c:pt>
                <c:pt idx="235">
                  <c:v>212.80311111111121</c:v>
                </c:pt>
                <c:pt idx="236">
                  <c:v>212.80311111111121</c:v>
                </c:pt>
                <c:pt idx="237">
                  <c:v>212.80311111111121</c:v>
                </c:pt>
                <c:pt idx="238">
                  <c:v>212.80311111111121</c:v>
                </c:pt>
                <c:pt idx="239">
                  <c:v>212.80311111111121</c:v>
                </c:pt>
                <c:pt idx="240">
                  <c:v>212.80311111111121</c:v>
                </c:pt>
                <c:pt idx="241">
                  <c:v>212.80311111111121</c:v>
                </c:pt>
                <c:pt idx="242">
                  <c:v>212.80311111111121</c:v>
                </c:pt>
                <c:pt idx="243">
                  <c:v>212.80311111111121</c:v>
                </c:pt>
                <c:pt idx="244">
                  <c:v>212.80311111111121</c:v>
                </c:pt>
                <c:pt idx="245">
                  <c:v>212.80311111111121</c:v>
                </c:pt>
                <c:pt idx="246">
                  <c:v>212.80311111111121</c:v>
                </c:pt>
                <c:pt idx="247">
                  <c:v>212.80311111111121</c:v>
                </c:pt>
                <c:pt idx="248">
                  <c:v>212.80311111111121</c:v>
                </c:pt>
                <c:pt idx="249">
                  <c:v>212.80311111111121</c:v>
                </c:pt>
                <c:pt idx="250">
                  <c:v>212.80311111111121</c:v>
                </c:pt>
                <c:pt idx="251">
                  <c:v>212.80311111111121</c:v>
                </c:pt>
                <c:pt idx="252">
                  <c:v>212.80311111111121</c:v>
                </c:pt>
                <c:pt idx="253">
                  <c:v>212.80311111111121</c:v>
                </c:pt>
                <c:pt idx="254">
                  <c:v>212.80311111111121</c:v>
                </c:pt>
                <c:pt idx="255">
                  <c:v>212.80311111111121</c:v>
                </c:pt>
                <c:pt idx="256">
                  <c:v>212.80311111111121</c:v>
                </c:pt>
                <c:pt idx="257">
                  <c:v>212.80311111111121</c:v>
                </c:pt>
                <c:pt idx="258">
                  <c:v>212.80311111111121</c:v>
                </c:pt>
                <c:pt idx="259">
                  <c:v>212.80311111111121</c:v>
                </c:pt>
                <c:pt idx="260">
                  <c:v>212.80311111111121</c:v>
                </c:pt>
                <c:pt idx="261">
                  <c:v>212.80311111111121</c:v>
                </c:pt>
                <c:pt idx="262">
                  <c:v>212.80311111111121</c:v>
                </c:pt>
                <c:pt idx="263">
                  <c:v>212.80311111111121</c:v>
                </c:pt>
                <c:pt idx="264">
                  <c:v>212.80311111111121</c:v>
                </c:pt>
                <c:pt idx="265">
                  <c:v>212.80311111111121</c:v>
                </c:pt>
                <c:pt idx="266">
                  <c:v>212.80311111111121</c:v>
                </c:pt>
                <c:pt idx="267">
                  <c:v>212.80311111111121</c:v>
                </c:pt>
                <c:pt idx="268">
                  <c:v>212.80311111111121</c:v>
                </c:pt>
                <c:pt idx="269">
                  <c:v>212.80311111111121</c:v>
                </c:pt>
                <c:pt idx="270">
                  <c:v>212.80311111111121</c:v>
                </c:pt>
                <c:pt idx="271">
                  <c:v>212.80311111111121</c:v>
                </c:pt>
                <c:pt idx="272">
                  <c:v>212.80311111111121</c:v>
                </c:pt>
                <c:pt idx="273">
                  <c:v>212.80311111111121</c:v>
                </c:pt>
                <c:pt idx="274">
                  <c:v>212.80311111111121</c:v>
                </c:pt>
                <c:pt idx="275">
                  <c:v>212.80311111111121</c:v>
                </c:pt>
                <c:pt idx="276">
                  <c:v>212.80311111111121</c:v>
                </c:pt>
                <c:pt idx="277">
                  <c:v>212.80311111111121</c:v>
                </c:pt>
                <c:pt idx="278">
                  <c:v>212.80311111111121</c:v>
                </c:pt>
                <c:pt idx="279">
                  <c:v>212.80311111111121</c:v>
                </c:pt>
                <c:pt idx="280">
                  <c:v>212.80311111111121</c:v>
                </c:pt>
                <c:pt idx="281">
                  <c:v>212.80311111111121</c:v>
                </c:pt>
                <c:pt idx="282">
                  <c:v>212.80311111111121</c:v>
                </c:pt>
                <c:pt idx="283">
                  <c:v>212.80311111111121</c:v>
                </c:pt>
                <c:pt idx="284">
                  <c:v>212.80311111111121</c:v>
                </c:pt>
                <c:pt idx="285">
                  <c:v>212.80311111111121</c:v>
                </c:pt>
                <c:pt idx="286">
                  <c:v>212.80311111111121</c:v>
                </c:pt>
                <c:pt idx="287">
                  <c:v>212.80311111111121</c:v>
                </c:pt>
                <c:pt idx="288">
                  <c:v>212.80311111111121</c:v>
                </c:pt>
                <c:pt idx="289">
                  <c:v>212.80311111111121</c:v>
                </c:pt>
                <c:pt idx="290">
                  <c:v>212.80311111111121</c:v>
                </c:pt>
                <c:pt idx="291">
                  <c:v>212.80311111111121</c:v>
                </c:pt>
                <c:pt idx="292">
                  <c:v>212.80311111111121</c:v>
                </c:pt>
                <c:pt idx="293">
                  <c:v>212.80311111111121</c:v>
                </c:pt>
                <c:pt idx="294">
                  <c:v>212.80311111111121</c:v>
                </c:pt>
                <c:pt idx="295">
                  <c:v>212.80311111111121</c:v>
                </c:pt>
                <c:pt idx="296">
                  <c:v>212.80311111111121</c:v>
                </c:pt>
                <c:pt idx="297">
                  <c:v>212.80311111111121</c:v>
                </c:pt>
                <c:pt idx="298">
                  <c:v>212.80311111111121</c:v>
                </c:pt>
                <c:pt idx="299">
                  <c:v>212.80311111111121</c:v>
                </c:pt>
                <c:pt idx="300">
                  <c:v>212.80311111111121</c:v>
                </c:pt>
                <c:pt idx="301">
                  <c:v>212.80311111111121</c:v>
                </c:pt>
                <c:pt idx="302">
                  <c:v>212.80311111111121</c:v>
                </c:pt>
                <c:pt idx="303">
                  <c:v>212.80311111111121</c:v>
                </c:pt>
                <c:pt idx="304">
                  <c:v>212.80311111111121</c:v>
                </c:pt>
                <c:pt idx="305">
                  <c:v>212.80311111111121</c:v>
                </c:pt>
                <c:pt idx="306">
                  <c:v>212.80311111111121</c:v>
                </c:pt>
                <c:pt idx="307">
                  <c:v>212.80311111111121</c:v>
                </c:pt>
                <c:pt idx="308">
                  <c:v>212.80311111111121</c:v>
                </c:pt>
                <c:pt idx="309">
                  <c:v>212.80311111111121</c:v>
                </c:pt>
                <c:pt idx="310">
                  <c:v>212.80311111111121</c:v>
                </c:pt>
                <c:pt idx="311">
                  <c:v>212.80311111111121</c:v>
                </c:pt>
                <c:pt idx="312">
                  <c:v>212.80311111111121</c:v>
                </c:pt>
                <c:pt idx="313">
                  <c:v>212.80311111111121</c:v>
                </c:pt>
                <c:pt idx="314">
                  <c:v>212.80311111111121</c:v>
                </c:pt>
                <c:pt idx="315">
                  <c:v>212.80311111111121</c:v>
                </c:pt>
                <c:pt idx="316">
                  <c:v>212.80311111111121</c:v>
                </c:pt>
                <c:pt idx="317">
                  <c:v>212.80311111111121</c:v>
                </c:pt>
                <c:pt idx="318">
                  <c:v>212.80311111111121</c:v>
                </c:pt>
                <c:pt idx="319">
                  <c:v>212.80311111111121</c:v>
                </c:pt>
                <c:pt idx="320">
                  <c:v>212.80311111111121</c:v>
                </c:pt>
                <c:pt idx="321">
                  <c:v>212.80311111111121</c:v>
                </c:pt>
                <c:pt idx="322">
                  <c:v>212.80311111111121</c:v>
                </c:pt>
                <c:pt idx="323">
                  <c:v>212.80311111111121</c:v>
                </c:pt>
                <c:pt idx="324">
                  <c:v>212.80311111111121</c:v>
                </c:pt>
                <c:pt idx="325">
                  <c:v>212.80311111111121</c:v>
                </c:pt>
                <c:pt idx="326">
                  <c:v>212.80311111111121</c:v>
                </c:pt>
                <c:pt idx="327">
                  <c:v>212.80311111111121</c:v>
                </c:pt>
                <c:pt idx="328">
                  <c:v>212.80311111111121</c:v>
                </c:pt>
                <c:pt idx="329">
                  <c:v>212.80311111111121</c:v>
                </c:pt>
                <c:pt idx="330">
                  <c:v>212.80311111111121</c:v>
                </c:pt>
                <c:pt idx="331">
                  <c:v>212.80311111111121</c:v>
                </c:pt>
                <c:pt idx="332">
                  <c:v>212.80311111111121</c:v>
                </c:pt>
                <c:pt idx="333">
                  <c:v>212.80311111111121</c:v>
                </c:pt>
                <c:pt idx="334">
                  <c:v>212.80311111111121</c:v>
                </c:pt>
                <c:pt idx="335">
                  <c:v>212.80311111111121</c:v>
                </c:pt>
                <c:pt idx="336">
                  <c:v>212.80311111111121</c:v>
                </c:pt>
                <c:pt idx="337">
                  <c:v>212.80311111111121</c:v>
                </c:pt>
                <c:pt idx="338">
                  <c:v>212.80311111111121</c:v>
                </c:pt>
                <c:pt idx="339">
                  <c:v>212.80311111111121</c:v>
                </c:pt>
                <c:pt idx="340">
                  <c:v>212.80311111111121</c:v>
                </c:pt>
                <c:pt idx="341">
                  <c:v>212.80311111111121</c:v>
                </c:pt>
                <c:pt idx="342">
                  <c:v>212.80311111111121</c:v>
                </c:pt>
                <c:pt idx="343">
                  <c:v>212.80311111111121</c:v>
                </c:pt>
                <c:pt idx="344">
                  <c:v>212.80311111111121</c:v>
                </c:pt>
                <c:pt idx="345">
                  <c:v>212.80311111111121</c:v>
                </c:pt>
                <c:pt idx="346">
                  <c:v>212.80311111111121</c:v>
                </c:pt>
                <c:pt idx="347">
                  <c:v>212.80311111111121</c:v>
                </c:pt>
                <c:pt idx="348">
                  <c:v>212.80311111111121</c:v>
                </c:pt>
                <c:pt idx="349">
                  <c:v>212.80311111111121</c:v>
                </c:pt>
                <c:pt idx="350">
                  <c:v>212.80311111111121</c:v>
                </c:pt>
                <c:pt idx="351">
                  <c:v>212.80311111111121</c:v>
                </c:pt>
                <c:pt idx="352">
                  <c:v>212.80311111111121</c:v>
                </c:pt>
                <c:pt idx="353">
                  <c:v>212.80311111111121</c:v>
                </c:pt>
                <c:pt idx="354">
                  <c:v>212.80311111111121</c:v>
                </c:pt>
                <c:pt idx="355">
                  <c:v>212.80311111111121</c:v>
                </c:pt>
                <c:pt idx="356">
                  <c:v>212.80311111111121</c:v>
                </c:pt>
                <c:pt idx="357">
                  <c:v>212.80311111111121</c:v>
                </c:pt>
                <c:pt idx="358">
                  <c:v>212.80311111111121</c:v>
                </c:pt>
                <c:pt idx="359">
                  <c:v>212.80311111111121</c:v>
                </c:pt>
                <c:pt idx="360">
                  <c:v>212.80311111111121</c:v>
                </c:pt>
                <c:pt idx="361">
                  <c:v>212.80311111111121</c:v>
                </c:pt>
                <c:pt idx="362">
                  <c:v>212.80311111111121</c:v>
                </c:pt>
                <c:pt idx="363">
                  <c:v>212.80311111111121</c:v>
                </c:pt>
                <c:pt idx="364">
                  <c:v>212.8031111111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1C-4B28-9E00-67B282961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16420575"/>
        <c:axId val="2016422975"/>
      </c:lineChart>
      <c:dateAx>
        <c:axId val="201642057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16422975"/>
        <c:crosses val="autoZero"/>
        <c:auto val="1"/>
        <c:lblOffset val="100"/>
        <c:baseTimeUnit val="days"/>
      </c:dateAx>
      <c:valAx>
        <c:axId val="20164229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/>
                  <a:t>Irrigation (in</a:t>
                </a:r>
                <a:r>
                  <a:rPr lang="fr-FR" baseline="0"/>
                  <a:t> </a:t>
                </a:r>
                <a:r>
                  <a:rPr lang="fr-FR"/>
                  <a:t>mm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164205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16443-0631-4A0E-84CD-939D94BE081B}" type="datetimeFigureOut">
              <a:rPr lang="fr-FR" smtClean="0"/>
              <a:t>07/08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25670-277F-420A-8EEC-59D1668F7C0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0370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25670-277F-420A-8EEC-59D1668F7C0D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022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39C4B981-F0CA-FE43-957C-DB2C65E373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08883" y="240030"/>
            <a:ext cx="3002117" cy="311752"/>
          </a:xfrm>
          <a:custGeom>
            <a:avLst/>
            <a:gdLst>
              <a:gd name="connsiteX0" fmla="*/ 0 w 4038600"/>
              <a:gd name="connsiteY0" fmla="*/ 194757 h 389513"/>
              <a:gd name="connsiteX1" fmla="*/ 2019300 w 4038600"/>
              <a:gd name="connsiteY1" fmla="*/ 0 h 389513"/>
              <a:gd name="connsiteX2" fmla="*/ 4038600 w 4038600"/>
              <a:gd name="connsiteY2" fmla="*/ 194757 h 389513"/>
              <a:gd name="connsiteX3" fmla="*/ 2019300 w 4038600"/>
              <a:gd name="connsiteY3" fmla="*/ 389514 h 389513"/>
              <a:gd name="connsiteX4" fmla="*/ 0 w 4038600"/>
              <a:gd name="connsiteY4" fmla="*/ 194757 h 389513"/>
              <a:gd name="connsiteX0" fmla="*/ 86 w 4038686"/>
              <a:gd name="connsiteY0" fmla="*/ 320794 h 3615212"/>
              <a:gd name="connsiteX1" fmla="*/ 2019386 w 4038686"/>
              <a:gd name="connsiteY1" fmla="*/ 126037 h 3615212"/>
              <a:gd name="connsiteX2" fmla="*/ 4038686 w 4038686"/>
              <a:gd name="connsiteY2" fmla="*/ 320794 h 3615212"/>
              <a:gd name="connsiteX3" fmla="*/ 2081379 w 4038686"/>
              <a:gd name="connsiteY3" fmla="*/ 3615212 h 3615212"/>
              <a:gd name="connsiteX4" fmla="*/ 86 w 4038686"/>
              <a:gd name="connsiteY4" fmla="*/ 320794 h 3615212"/>
              <a:gd name="connsiteX0" fmla="*/ 66 w 3868185"/>
              <a:gd name="connsiteY0" fmla="*/ 2336759 h 3681989"/>
              <a:gd name="connsiteX1" fmla="*/ 1848885 w 3868185"/>
              <a:gd name="connsiteY1" fmla="*/ 127222 h 3681989"/>
              <a:gd name="connsiteX2" fmla="*/ 3868185 w 3868185"/>
              <a:gd name="connsiteY2" fmla="*/ 321979 h 3681989"/>
              <a:gd name="connsiteX3" fmla="*/ 1910878 w 3868185"/>
              <a:gd name="connsiteY3" fmla="*/ 3616397 h 3681989"/>
              <a:gd name="connsiteX4" fmla="*/ 66 w 3868185"/>
              <a:gd name="connsiteY4" fmla="*/ 2336759 h 3681989"/>
              <a:gd name="connsiteX0" fmla="*/ 58458 w 3926577"/>
              <a:gd name="connsiteY0" fmla="*/ 2139671 h 3482778"/>
              <a:gd name="connsiteX1" fmla="*/ 806898 w 3926577"/>
              <a:gd name="connsiteY1" fmla="*/ 209103 h 3482778"/>
              <a:gd name="connsiteX2" fmla="*/ 3926577 w 3926577"/>
              <a:gd name="connsiteY2" fmla="*/ 124891 h 3482778"/>
              <a:gd name="connsiteX3" fmla="*/ 1969270 w 3926577"/>
              <a:gd name="connsiteY3" fmla="*/ 3419309 h 3482778"/>
              <a:gd name="connsiteX4" fmla="*/ 58458 w 3926577"/>
              <a:gd name="connsiteY4" fmla="*/ 2139671 h 348277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61104 h 3247167"/>
              <a:gd name="connsiteX1" fmla="*/ 798950 w 3376188"/>
              <a:gd name="connsiteY1" fmla="*/ 30536 h 3247167"/>
              <a:gd name="connsiteX2" fmla="*/ 3376188 w 3376188"/>
              <a:gd name="connsiteY2" fmla="*/ 1434162 h 3247167"/>
              <a:gd name="connsiteX3" fmla="*/ 1961322 w 3376188"/>
              <a:gd name="connsiteY3" fmla="*/ 3240742 h 3247167"/>
              <a:gd name="connsiteX4" fmla="*/ 50510 w 3376188"/>
              <a:gd name="connsiteY4" fmla="*/ 1961104 h 3247167"/>
              <a:gd name="connsiteX0" fmla="*/ 50510 w 3376188"/>
              <a:gd name="connsiteY0" fmla="*/ 2048096 h 3334159"/>
              <a:gd name="connsiteX1" fmla="*/ 798950 w 3376188"/>
              <a:gd name="connsiteY1" fmla="*/ 117528 h 3334159"/>
              <a:gd name="connsiteX2" fmla="*/ 3376188 w 3376188"/>
              <a:gd name="connsiteY2" fmla="*/ 1521154 h 3334159"/>
              <a:gd name="connsiteX3" fmla="*/ 1961322 w 3376188"/>
              <a:gd name="connsiteY3" fmla="*/ 3327734 h 3334159"/>
              <a:gd name="connsiteX4" fmla="*/ 50510 w 3376188"/>
              <a:gd name="connsiteY4" fmla="*/ 2048096 h 3334159"/>
              <a:gd name="connsiteX0" fmla="*/ 67692 w 3393370"/>
              <a:gd name="connsiteY0" fmla="*/ 2048096 h 3347554"/>
              <a:gd name="connsiteX1" fmla="*/ 816132 w 3393370"/>
              <a:gd name="connsiteY1" fmla="*/ 117528 h 3347554"/>
              <a:gd name="connsiteX2" fmla="*/ 3393370 w 3393370"/>
              <a:gd name="connsiteY2" fmla="*/ 1521154 h 3347554"/>
              <a:gd name="connsiteX3" fmla="*/ 1978504 w 3393370"/>
              <a:gd name="connsiteY3" fmla="*/ 3327734 h 3347554"/>
              <a:gd name="connsiteX4" fmla="*/ 67692 w 3393370"/>
              <a:gd name="connsiteY4" fmla="*/ 2048096 h 3347554"/>
              <a:gd name="connsiteX0" fmla="*/ 42282 w 3367960"/>
              <a:gd name="connsiteY0" fmla="*/ 2069992 h 3356091"/>
              <a:gd name="connsiteX1" fmla="*/ 852715 w 3367960"/>
              <a:gd name="connsiteY1" fmla="*/ 108427 h 3356091"/>
              <a:gd name="connsiteX2" fmla="*/ 3367960 w 3367960"/>
              <a:gd name="connsiteY2" fmla="*/ 1543050 h 3356091"/>
              <a:gd name="connsiteX3" fmla="*/ 1953094 w 3367960"/>
              <a:gd name="connsiteY3" fmla="*/ 3349630 h 3356091"/>
              <a:gd name="connsiteX4" fmla="*/ 42282 w 3367960"/>
              <a:gd name="connsiteY4" fmla="*/ 2069992 h 3356091"/>
              <a:gd name="connsiteX0" fmla="*/ 66078 w 3391756"/>
              <a:gd name="connsiteY0" fmla="*/ 2173120 h 3459219"/>
              <a:gd name="connsiteX1" fmla="*/ 876511 w 3391756"/>
              <a:gd name="connsiteY1" fmla="*/ 211555 h 3459219"/>
              <a:gd name="connsiteX2" fmla="*/ 3391756 w 3391756"/>
              <a:gd name="connsiteY2" fmla="*/ 1646178 h 3459219"/>
              <a:gd name="connsiteX3" fmla="*/ 1976890 w 3391756"/>
              <a:gd name="connsiteY3" fmla="*/ 3452758 h 3459219"/>
              <a:gd name="connsiteX4" fmla="*/ 66078 w 3391756"/>
              <a:gd name="connsiteY4" fmla="*/ 2173120 h 3459219"/>
              <a:gd name="connsiteX0" fmla="*/ 41431 w 3382607"/>
              <a:gd name="connsiteY0" fmla="*/ 2286358 h 3379130"/>
              <a:gd name="connsiteX1" fmla="*/ 867362 w 3382607"/>
              <a:gd name="connsiteY1" fmla="*/ 123315 h 3379130"/>
              <a:gd name="connsiteX2" fmla="*/ 3382607 w 3382607"/>
              <a:gd name="connsiteY2" fmla="*/ 1557938 h 3379130"/>
              <a:gd name="connsiteX3" fmla="*/ 1967741 w 3382607"/>
              <a:gd name="connsiteY3" fmla="*/ 3364518 h 3379130"/>
              <a:gd name="connsiteX4" fmla="*/ 41431 w 3382607"/>
              <a:gd name="connsiteY4" fmla="*/ 2286358 h 3379130"/>
              <a:gd name="connsiteX0" fmla="*/ 46622 w 3387798"/>
              <a:gd name="connsiteY0" fmla="*/ 2286358 h 3392606"/>
              <a:gd name="connsiteX1" fmla="*/ 872553 w 3387798"/>
              <a:gd name="connsiteY1" fmla="*/ 123315 h 3392606"/>
              <a:gd name="connsiteX2" fmla="*/ 3387798 w 3387798"/>
              <a:gd name="connsiteY2" fmla="*/ 1557938 h 3392606"/>
              <a:gd name="connsiteX3" fmla="*/ 1972932 w 3387798"/>
              <a:gd name="connsiteY3" fmla="*/ 3364518 h 3392606"/>
              <a:gd name="connsiteX4" fmla="*/ 46622 w 3387798"/>
              <a:gd name="connsiteY4" fmla="*/ 2286358 h 3392606"/>
              <a:gd name="connsiteX0" fmla="*/ 34606 w 3375782"/>
              <a:gd name="connsiteY0" fmla="*/ 2286358 h 3379130"/>
              <a:gd name="connsiteX1" fmla="*/ 922530 w 3375782"/>
              <a:gd name="connsiteY1" fmla="*/ 123315 h 3379130"/>
              <a:gd name="connsiteX2" fmla="*/ 3375782 w 3375782"/>
              <a:gd name="connsiteY2" fmla="*/ 1557938 h 3379130"/>
              <a:gd name="connsiteX3" fmla="*/ 1960916 w 3375782"/>
              <a:gd name="connsiteY3" fmla="*/ 3364518 h 3379130"/>
              <a:gd name="connsiteX4" fmla="*/ 34606 w 3375782"/>
              <a:gd name="connsiteY4" fmla="*/ 2286358 h 3379130"/>
              <a:gd name="connsiteX0" fmla="*/ 55999 w 3397175"/>
              <a:gd name="connsiteY0" fmla="*/ 2293230 h 3386002"/>
              <a:gd name="connsiteX1" fmla="*/ 943923 w 3397175"/>
              <a:gd name="connsiteY1" fmla="*/ 130187 h 3386002"/>
              <a:gd name="connsiteX2" fmla="*/ 3397175 w 3397175"/>
              <a:gd name="connsiteY2" fmla="*/ 1564810 h 3386002"/>
              <a:gd name="connsiteX3" fmla="*/ 1982309 w 3397175"/>
              <a:gd name="connsiteY3" fmla="*/ 3371390 h 3386002"/>
              <a:gd name="connsiteX4" fmla="*/ 55999 w 3397175"/>
              <a:gd name="connsiteY4" fmla="*/ 2293230 h 3386002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4983 w 3396159"/>
              <a:gd name="connsiteY0" fmla="*/ 2293230 h 3411721"/>
              <a:gd name="connsiteX1" fmla="*/ 942907 w 3396159"/>
              <a:gd name="connsiteY1" fmla="*/ 130187 h 3411721"/>
              <a:gd name="connsiteX2" fmla="*/ 3396159 w 3396159"/>
              <a:gd name="connsiteY2" fmla="*/ 1564810 h 3411721"/>
              <a:gd name="connsiteX3" fmla="*/ 1965795 w 3396159"/>
              <a:gd name="connsiteY3" fmla="*/ 3386888 h 3411721"/>
              <a:gd name="connsiteX4" fmla="*/ 54983 w 3396159"/>
              <a:gd name="connsiteY4" fmla="*/ 2293230 h 3411721"/>
              <a:gd name="connsiteX0" fmla="*/ 54983 w 3396159"/>
              <a:gd name="connsiteY0" fmla="*/ 2293230 h 3395472"/>
              <a:gd name="connsiteX1" fmla="*/ 942907 w 3396159"/>
              <a:gd name="connsiteY1" fmla="*/ 130187 h 3395472"/>
              <a:gd name="connsiteX2" fmla="*/ 3396159 w 3396159"/>
              <a:gd name="connsiteY2" fmla="*/ 1564810 h 3395472"/>
              <a:gd name="connsiteX3" fmla="*/ 1965795 w 3396159"/>
              <a:gd name="connsiteY3" fmla="*/ 3386888 h 3395472"/>
              <a:gd name="connsiteX4" fmla="*/ 54983 w 3396159"/>
              <a:gd name="connsiteY4" fmla="*/ 2293230 h 3395472"/>
              <a:gd name="connsiteX0" fmla="*/ 46923 w 3388099"/>
              <a:gd name="connsiteY0" fmla="*/ 2293230 h 3410821"/>
              <a:gd name="connsiteX1" fmla="*/ 934847 w 3388099"/>
              <a:gd name="connsiteY1" fmla="*/ 130187 h 3410821"/>
              <a:gd name="connsiteX2" fmla="*/ 3388099 w 3388099"/>
              <a:gd name="connsiteY2" fmla="*/ 1564810 h 3410821"/>
              <a:gd name="connsiteX3" fmla="*/ 1833748 w 3388099"/>
              <a:gd name="connsiteY3" fmla="*/ 3402387 h 3410821"/>
              <a:gd name="connsiteX4" fmla="*/ 46923 w 3388099"/>
              <a:gd name="connsiteY4" fmla="*/ 2293230 h 3410821"/>
              <a:gd name="connsiteX0" fmla="*/ 35746 w 3376922"/>
              <a:gd name="connsiteY0" fmla="*/ 2320727 h 3438318"/>
              <a:gd name="connsiteX1" fmla="*/ 923670 w 3376922"/>
              <a:gd name="connsiteY1" fmla="*/ 157684 h 3438318"/>
              <a:gd name="connsiteX2" fmla="*/ 3376922 w 3376922"/>
              <a:gd name="connsiteY2" fmla="*/ 1592307 h 3438318"/>
              <a:gd name="connsiteX3" fmla="*/ 1822571 w 3376922"/>
              <a:gd name="connsiteY3" fmla="*/ 3429884 h 3438318"/>
              <a:gd name="connsiteX4" fmla="*/ 35746 w 3376922"/>
              <a:gd name="connsiteY4" fmla="*/ 2320727 h 3438318"/>
              <a:gd name="connsiteX0" fmla="*/ 48481 w 3389657"/>
              <a:gd name="connsiteY0" fmla="*/ 2320727 h 3438318"/>
              <a:gd name="connsiteX1" fmla="*/ 936405 w 3389657"/>
              <a:gd name="connsiteY1" fmla="*/ 157684 h 3438318"/>
              <a:gd name="connsiteX2" fmla="*/ 3389657 w 3389657"/>
              <a:gd name="connsiteY2" fmla="*/ 1592307 h 3438318"/>
              <a:gd name="connsiteX3" fmla="*/ 1835306 w 3389657"/>
              <a:gd name="connsiteY3" fmla="*/ 3429884 h 3438318"/>
              <a:gd name="connsiteX4" fmla="*/ 48481 w 3389657"/>
              <a:gd name="connsiteY4" fmla="*/ 2320727 h 3438318"/>
              <a:gd name="connsiteX0" fmla="*/ 43454 w 3384630"/>
              <a:gd name="connsiteY0" fmla="*/ 2320727 h 16896762"/>
              <a:gd name="connsiteX1" fmla="*/ 931378 w 3384630"/>
              <a:gd name="connsiteY1" fmla="*/ 157684 h 16896762"/>
              <a:gd name="connsiteX2" fmla="*/ 3384630 w 3384630"/>
              <a:gd name="connsiteY2" fmla="*/ 1592307 h 16896762"/>
              <a:gd name="connsiteX3" fmla="*/ 1752788 w 3384630"/>
              <a:gd name="connsiteY3" fmla="*/ 16896251 h 16896762"/>
              <a:gd name="connsiteX4" fmla="*/ 43454 w 3384630"/>
              <a:gd name="connsiteY4" fmla="*/ 2320727 h 16896762"/>
              <a:gd name="connsiteX0" fmla="*/ 24243 w 3396416"/>
              <a:gd name="connsiteY0" fmla="*/ 2636095 h 17284134"/>
              <a:gd name="connsiteX1" fmla="*/ 912167 w 3396416"/>
              <a:gd name="connsiteY1" fmla="*/ 473052 h 17284134"/>
              <a:gd name="connsiteX2" fmla="*/ 3396416 w 3396416"/>
              <a:gd name="connsiteY2" fmla="*/ 8217630 h 17284134"/>
              <a:gd name="connsiteX3" fmla="*/ 1733577 w 3396416"/>
              <a:gd name="connsiteY3" fmla="*/ 17211619 h 17284134"/>
              <a:gd name="connsiteX4" fmla="*/ 24243 w 3396416"/>
              <a:gd name="connsiteY4" fmla="*/ 2636095 h 17284134"/>
              <a:gd name="connsiteX0" fmla="*/ 25326 w 3366502"/>
              <a:gd name="connsiteY0" fmla="*/ 10028716 h 16778518"/>
              <a:gd name="connsiteX1" fmla="*/ 882253 w 3366502"/>
              <a:gd name="connsiteY1" fmla="*/ 16705 h 16778518"/>
              <a:gd name="connsiteX2" fmla="*/ 3366502 w 3366502"/>
              <a:gd name="connsiteY2" fmla="*/ 7761283 h 16778518"/>
              <a:gd name="connsiteX3" fmla="*/ 1703663 w 3366502"/>
              <a:gd name="connsiteY3" fmla="*/ 16755272 h 16778518"/>
              <a:gd name="connsiteX4" fmla="*/ 25326 w 3366502"/>
              <a:gd name="connsiteY4" fmla="*/ 10028716 h 16778518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7134 w 3321815"/>
              <a:gd name="connsiteY0" fmla="*/ 11893866 h 17094294"/>
              <a:gd name="connsiteX1" fmla="*/ 837566 w 3321815"/>
              <a:gd name="connsiteY1" fmla="*/ 265889 h 17094294"/>
              <a:gd name="connsiteX2" fmla="*/ 3321815 w 3321815"/>
              <a:gd name="connsiteY2" fmla="*/ 8010467 h 17094294"/>
              <a:gd name="connsiteX3" fmla="*/ 1658976 w 3321815"/>
              <a:gd name="connsiteY3" fmla="*/ 17004456 h 17094294"/>
              <a:gd name="connsiteX4" fmla="*/ 27134 w 3321815"/>
              <a:gd name="connsiteY4" fmla="*/ 11893866 h 17094294"/>
              <a:gd name="connsiteX0" fmla="*/ 128797 w 3423478"/>
              <a:gd name="connsiteY0" fmla="*/ 11893866 h 17190359"/>
              <a:gd name="connsiteX1" fmla="*/ 939229 w 3423478"/>
              <a:gd name="connsiteY1" fmla="*/ 265889 h 17190359"/>
              <a:gd name="connsiteX2" fmla="*/ 3423478 w 3423478"/>
              <a:gd name="connsiteY2" fmla="*/ 8010467 h 17190359"/>
              <a:gd name="connsiteX3" fmla="*/ 1760639 w 3423478"/>
              <a:gd name="connsiteY3" fmla="*/ 17004456 h 17190359"/>
              <a:gd name="connsiteX4" fmla="*/ 128797 w 3423478"/>
              <a:gd name="connsiteY4" fmla="*/ 11893866 h 17190359"/>
              <a:gd name="connsiteX0" fmla="*/ 27134 w 3321815"/>
              <a:gd name="connsiteY0" fmla="*/ 11311673 h 16509395"/>
              <a:gd name="connsiteX1" fmla="*/ 837566 w 3321815"/>
              <a:gd name="connsiteY1" fmla="*/ 376250 h 16509395"/>
              <a:gd name="connsiteX2" fmla="*/ 3321815 w 3321815"/>
              <a:gd name="connsiteY2" fmla="*/ 7428274 h 16509395"/>
              <a:gd name="connsiteX3" fmla="*/ 1658976 w 3321815"/>
              <a:gd name="connsiteY3" fmla="*/ 16422263 h 16509395"/>
              <a:gd name="connsiteX4" fmla="*/ 27134 w 3321815"/>
              <a:gd name="connsiteY4" fmla="*/ 11311673 h 16509395"/>
              <a:gd name="connsiteX0" fmla="*/ 27134 w 3321815"/>
              <a:gd name="connsiteY0" fmla="*/ 11648471 h 16846193"/>
              <a:gd name="connsiteX1" fmla="*/ 837566 w 3321815"/>
              <a:gd name="connsiteY1" fmla="*/ 713048 h 16846193"/>
              <a:gd name="connsiteX2" fmla="*/ 3321815 w 3321815"/>
              <a:gd name="connsiteY2" fmla="*/ 7765072 h 16846193"/>
              <a:gd name="connsiteX3" fmla="*/ 1658976 w 3321815"/>
              <a:gd name="connsiteY3" fmla="*/ 16759061 h 16846193"/>
              <a:gd name="connsiteX4" fmla="*/ 27134 w 3321815"/>
              <a:gd name="connsiteY4" fmla="*/ 11648471 h 16846193"/>
              <a:gd name="connsiteX0" fmla="*/ 74052 w 3368733"/>
              <a:gd name="connsiteY0" fmla="*/ 11580901 h 16778623"/>
              <a:gd name="connsiteX1" fmla="*/ 884484 w 3368733"/>
              <a:gd name="connsiteY1" fmla="*/ 645478 h 16778623"/>
              <a:gd name="connsiteX2" fmla="*/ 3368733 w 3368733"/>
              <a:gd name="connsiteY2" fmla="*/ 7697502 h 16778623"/>
              <a:gd name="connsiteX3" fmla="*/ 1705894 w 3368733"/>
              <a:gd name="connsiteY3" fmla="*/ 16691491 h 16778623"/>
              <a:gd name="connsiteX4" fmla="*/ 74052 w 3368733"/>
              <a:gd name="connsiteY4" fmla="*/ 11580901 h 16778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8733" h="16778623">
                <a:moveTo>
                  <a:pt x="74052" y="11580901"/>
                </a:moveTo>
                <a:cubicBezTo>
                  <a:pt x="-62850" y="8906565"/>
                  <a:pt x="-114081" y="1908322"/>
                  <a:pt x="884484" y="645478"/>
                </a:cubicBezTo>
                <a:cubicBezTo>
                  <a:pt x="1883049" y="-617366"/>
                  <a:pt x="2903783" y="-826162"/>
                  <a:pt x="3368733" y="7697502"/>
                </a:cubicBezTo>
                <a:cubicBezTo>
                  <a:pt x="3337736" y="15402997"/>
                  <a:pt x="2255008" y="16044258"/>
                  <a:pt x="1705894" y="16691491"/>
                </a:cubicBezTo>
                <a:cubicBezTo>
                  <a:pt x="1156781" y="17338724"/>
                  <a:pt x="210954" y="14255237"/>
                  <a:pt x="74052" y="11580901"/>
                </a:cubicBezTo>
                <a:close/>
              </a:path>
            </a:pathLst>
          </a:custGeom>
          <a:pattFill prst="pct80">
            <a:fgClr>
              <a:srgbClr val="1C7862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13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AE541290-D361-1D46-90BD-07A00379B94A}"/>
              </a:ext>
            </a:extLst>
          </p:cNvPr>
          <p:cNvSpPr/>
          <p:nvPr userDrawn="1"/>
        </p:nvSpPr>
        <p:spPr>
          <a:xfrm>
            <a:off x="8598906" y="4668421"/>
            <a:ext cx="3593306" cy="2189845"/>
          </a:xfrm>
          <a:custGeom>
            <a:avLst/>
            <a:gdLst/>
            <a:ahLst/>
            <a:cxnLst/>
            <a:rect l="l" t="t" r="r" b="b"/>
            <a:pathLst>
              <a:path w="4791075" h="3244215">
                <a:moveTo>
                  <a:pt x="194556" y="2596891"/>
                </a:moveTo>
                <a:lnTo>
                  <a:pt x="147962" y="2599764"/>
                </a:lnTo>
                <a:lnTo>
                  <a:pt x="102994" y="2614654"/>
                </a:lnTo>
                <a:lnTo>
                  <a:pt x="62088" y="2641701"/>
                </a:lnTo>
                <a:lnTo>
                  <a:pt x="29762" y="2678607"/>
                </a:lnTo>
                <a:lnTo>
                  <a:pt x="9016" y="2721298"/>
                </a:lnTo>
                <a:lnTo>
                  <a:pt x="0" y="2767288"/>
                </a:lnTo>
                <a:lnTo>
                  <a:pt x="2858" y="2814094"/>
                </a:lnTo>
                <a:lnTo>
                  <a:pt x="17740" y="2859229"/>
                </a:lnTo>
                <a:lnTo>
                  <a:pt x="44791" y="2900210"/>
                </a:lnTo>
                <a:lnTo>
                  <a:pt x="74391" y="2934089"/>
                </a:lnTo>
                <a:lnTo>
                  <a:pt x="104350" y="2967829"/>
                </a:lnTo>
                <a:lnTo>
                  <a:pt x="134899" y="3001148"/>
                </a:lnTo>
                <a:lnTo>
                  <a:pt x="166270" y="3033764"/>
                </a:lnTo>
                <a:lnTo>
                  <a:pt x="198695" y="3065393"/>
                </a:lnTo>
                <a:lnTo>
                  <a:pt x="232408" y="3095754"/>
                </a:lnTo>
                <a:lnTo>
                  <a:pt x="267638" y="3124564"/>
                </a:lnTo>
                <a:lnTo>
                  <a:pt x="304620" y="3151541"/>
                </a:lnTo>
                <a:lnTo>
                  <a:pt x="343585" y="3176402"/>
                </a:lnTo>
                <a:lnTo>
                  <a:pt x="384765" y="3198864"/>
                </a:lnTo>
                <a:lnTo>
                  <a:pt x="428392" y="3218646"/>
                </a:lnTo>
                <a:lnTo>
                  <a:pt x="474698" y="3235464"/>
                </a:lnTo>
                <a:lnTo>
                  <a:pt x="505002" y="3243821"/>
                </a:lnTo>
                <a:lnTo>
                  <a:pt x="878174" y="3243821"/>
                </a:lnTo>
                <a:lnTo>
                  <a:pt x="955336" y="3218462"/>
                </a:lnTo>
                <a:lnTo>
                  <a:pt x="999071" y="3198603"/>
                </a:lnTo>
                <a:lnTo>
                  <a:pt x="1040335" y="3176050"/>
                </a:lnTo>
                <a:lnTo>
                  <a:pt x="1079363" y="3151087"/>
                </a:lnTo>
                <a:lnTo>
                  <a:pt x="1116391" y="3123996"/>
                </a:lnTo>
                <a:lnTo>
                  <a:pt x="1151653" y="3095061"/>
                </a:lnTo>
                <a:lnTo>
                  <a:pt x="1185386" y="3064564"/>
                </a:lnTo>
                <a:lnTo>
                  <a:pt x="1217825" y="3032789"/>
                </a:lnTo>
                <a:lnTo>
                  <a:pt x="1249204" y="3000017"/>
                </a:lnTo>
                <a:lnTo>
                  <a:pt x="1279759" y="2966533"/>
                </a:lnTo>
                <a:lnTo>
                  <a:pt x="1309726" y="2932619"/>
                </a:lnTo>
                <a:lnTo>
                  <a:pt x="1336624" y="2901683"/>
                </a:lnTo>
                <a:lnTo>
                  <a:pt x="691361" y="2901683"/>
                </a:lnTo>
                <a:lnTo>
                  <a:pt x="642971" y="2899043"/>
                </a:lnTo>
                <a:lnTo>
                  <a:pt x="599720" y="2890978"/>
                </a:lnTo>
                <a:lnTo>
                  <a:pt x="560056" y="2877185"/>
                </a:lnTo>
                <a:lnTo>
                  <a:pt x="522621" y="2857399"/>
                </a:lnTo>
                <a:lnTo>
                  <a:pt x="486011" y="2831345"/>
                </a:lnTo>
                <a:lnTo>
                  <a:pt x="448696" y="2798625"/>
                </a:lnTo>
                <a:lnTo>
                  <a:pt x="409539" y="2759223"/>
                </a:lnTo>
                <a:lnTo>
                  <a:pt x="367009" y="2712758"/>
                </a:lnTo>
                <a:lnTo>
                  <a:pt x="319708" y="2658960"/>
                </a:lnTo>
                <a:lnTo>
                  <a:pt x="282866" y="2626630"/>
                </a:lnTo>
                <a:lnTo>
                  <a:pt x="240336" y="2605893"/>
                </a:lnTo>
                <a:lnTo>
                  <a:pt x="194556" y="2596891"/>
                </a:lnTo>
                <a:close/>
              </a:path>
              <a:path w="4791075" h="3244215">
                <a:moveTo>
                  <a:pt x="2697284" y="2558795"/>
                </a:moveTo>
                <a:lnTo>
                  <a:pt x="1924378" y="2558795"/>
                </a:lnTo>
                <a:lnTo>
                  <a:pt x="1980842" y="2560950"/>
                </a:lnTo>
                <a:lnTo>
                  <a:pt x="2033594" y="2567229"/>
                </a:lnTo>
                <a:lnTo>
                  <a:pt x="2082915" y="2577357"/>
                </a:lnTo>
                <a:lnTo>
                  <a:pt x="2129085" y="2591057"/>
                </a:lnTo>
                <a:lnTo>
                  <a:pt x="2172387" y="2608054"/>
                </a:lnTo>
                <a:lnTo>
                  <a:pt x="2213100" y="2628071"/>
                </a:lnTo>
                <a:lnTo>
                  <a:pt x="2251506" y="2650832"/>
                </a:lnTo>
                <a:lnTo>
                  <a:pt x="2287886" y="2676060"/>
                </a:lnTo>
                <a:lnTo>
                  <a:pt x="2322521" y="2703480"/>
                </a:lnTo>
                <a:lnTo>
                  <a:pt x="2355692" y="2732816"/>
                </a:lnTo>
                <a:lnTo>
                  <a:pt x="2387680" y="2763790"/>
                </a:lnTo>
                <a:lnTo>
                  <a:pt x="2418767" y="2796128"/>
                </a:lnTo>
                <a:lnTo>
                  <a:pt x="2449233" y="2829553"/>
                </a:lnTo>
                <a:lnTo>
                  <a:pt x="2479360" y="2863789"/>
                </a:lnTo>
                <a:lnTo>
                  <a:pt x="2509860" y="2899053"/>
                </a:lnTo>
                <a:lnTo>
                  <a:pt x="2540467" y="2934089"/>
                </a:lnTo>
                <a:lnTo>
                  <a:pt x="2570427" y="2967829"/>
                </a:lnTo>
                <a:lnTo>
                  <a:pt x="2600977" y="3001148"/>
                </a:lnTo>
                <a:lnTo>
                  <a:pt x="2632349" y="3033764"/>
                </a:lnTo>
                <a:lnTo>
                  <a:pt x="2664775" y="3065393"/>
                </a:lnTo>
                <a:lnTo>
                  <a:pt x="2698487" y="3095754"/>
                </a:lnTo>
                <a:lnTo>
                  <a:pt x="2733718" y="3124564"/>
                </a:lnTo>
                <a:lnTo>
                  <a:pt x="2770700" y="3151541"/>
                </a:lnTo>
                <a:lnTo>
                  <a:pt x="2809664" y="3176402"/>
                </a:lnTo>
                <a:lnTo>
                  <a:pt x="2850844" y="3198864"/>
                </a:lnTo>
                <a:lnTo>
                  <a:pt x="2894472" y="3218646"/>
                </a:lnTo>
                <a:lnTo>
                  <a:pt x="2940779" y="3235464"/>
                </a:lnTo>
                <a:lnTo>
                  <a:pt x="2971083" y="3243821"/>
                </a:lnTo>
                <a:lnTo>
                  <a:pt x="3343973" y="3243821"/>
                </a:lnTo>
                <a:lnTo>
                  <a:pt x="3421097" y="3218462"/>
                </a:lnTo>
                <a:lnTo>
                  <a:pt x="3464846" y="3198603"/>
                </a:lnTo>
                <a:lnTo>
                  <a:pt x="3506146" y="3176050"/>
                </a:lnTo>
                <a:lnTo>
                  <a:pt x="3545231" y="3151087"/>
                </a:lnTo>
                <a:lnTo>
                  <a:pt x="3582334" y="3123996"/>
                </a:lnTo>
                <a:lnTo>
                  <a:pt x="3617688" y="3095061"/>
                </a:lnTo>
                <a:lnTo>
                  <a:pt x="3651528" y="3064564"/>
                </a:lnTo>
                <a:lnTo>
                  <a:pt x="3684086" y="3032789"/>
                </a:lnTo>
                <a:lnTo>
                  <a:pt x="3715596" y="3000017"/>
                </a:lnTo>
                <a:lnTo>
                  <a:pt x="3746291" y="2966533"/>
                </a:lnTo>
                <a:lnTo>
                  <a:pt x="3776402" y="2932619"/>
                </a:lnTo>
                <a:lnTo>
                  <a:pt x="3803433" y="2901683"/>
                </a:lnTo>
                <a:lnTo>
                  <a:pt x="3157447" y="2901683"/>
                </a:lnTo>
                <a:lnTo>
                  <a:pt x="3109049" y="2899043"/>
                </a:lnTo>
                <a:lnTo>
                  <a:pt x="3065808" y="2890986"/>
                </a:lnTo>
                <a:lnTo>
                  <a:pt x="3026109" y="2877185"/>
                </a:lnTo>
                <a:lnTo>
                  <a:pt x="2988755" y="2857461"/>
                </a:lnTo>
                <a:lnTo>
                  <a:pt x="2952197" y="2831467"/>
                </a:lnTo>
                <a:lnTo>
                  <a:pt x="2915083" y="2798960"/>
                </a:lnTo>
                <a:lnTo>
                  <a:pt x="2876014" y="2759670"/>
                </a:lnTo>
                <a:lnTo>
                  <a:pt x="2833587" y="2713331"/>
                </a:lnTo>
                <a:lnTo>
                  <a:pt x="2786403" y="2659672"/>
                </a:lnTo>
                <a:lnTo>
                  <a:pt x="2761698" y="2631079"/>
                </a:lnTo>
                <a:lnTo>
                  <a:pt x="2736032" y="2601719"/>
                </a:lnTo>
                <a:lnTo>
                  <a:pt x="2709300" y="2571812"/>
                </a:lnTo>
                <a:lnTo>
                  <a:pt x="2697284" y="2558795"/>
                </a:lnTo>
                <a:close/>
              </a:path>
              <a:path w="4791075" h="3244215">
                <a:moveTo>
                  <a:pt x="1924378" y="2193023"/>
                </a:moveTo>
                <a:lnTo>
                  <a:pt x="1860261" y="2194821"/>
                </a:lnTo>
                <a:lnTo>
                  <a:pt x="1799122" y="2200066"/>
                </a:lnTo>
                <a:lnTo>
                  <a:pt x="1740857" y="2208537"/>
                </a:lnTo>
                <a:lnTo>
                  <a:pt x="1685360" y="2220012"/>
                </a:lnTo>
                <a:lnTo>
                  <a:pt x="1632523" y="2234269"/>
                </a:lnTo>
                <a:lnTo>
                  <a:pt x="1582241" y="2251086"/>
                </a:lnTo>
                <a:lnTo>
                  <a:pt x="1534407" y="2270242"/>
                </a:lnTo>
                <a:lnTo>
                  <a:pt x="1488917" y="2291513"/>
                </a:lnTo>
                <a:lnTo>
                  <a:pt x="1445662" y="2314679"/>
                </a:lnTo>
                <a:lnTo>
                  <a:pt x="1404539" y="2339518"/>
                </a:lnTo>
                <a:lnTo>
                  <a:pt x="1365439" y="2365807"/>
                </a:lnTo>
                <a:lnTo>
                  <a:pt x="1328257" y="2393325"/>
                </a:lnTo>
                <a:lnTo>
                  <a:pt x="1292887" y="2421850"/>
                </a:lnTo>
                <a:lnTo>
                  <a:pt x="1259222" y="2451160"/>
                </a:lnTo>
                <a:lnTo>
                  <a:pt x="1227292" y="2480899"/>
                </a:lnTo>
                <a:lnTo>
                  <a:pt x="1196740" y="2511085"/>
                </a:lnTo>
                <a:lnTo>
                  <a:pt x="1167576" y="2541386"/>
                </a:lnTo>
                <a:lnTo>
                  <a:pt x="1139694" y="2571580"/>
                </a:lnTo>
                <a:lnTo>
                  <a:pt x="1112989" y="2601446"/>
                </a:lnTo>
                <a:lnTo>
                  <a:pt x="1087354" y="2630761"/>
                </a:lnTo>
                <a:lnTo>
                  <a:pt x="1062683" y="2659303"/>
                </a:lnTo>
                <a:lnTo>
                  <a:pt x="1016654" y="2711881"/>
                </a:lnTo>
                <a:lnTo>
                  <a:pt x="974861" y="2757674"/>
                </a:lnTo>
                <a:lnTo>
                  <a:pt x="935999" y="2796841"/>
                </a:lnTo>
                <a:lnTo>
                  <a:pt x="898751" y="2829553"/>
                </a:lnTo>
                <a:lnTo>
                  <a:pt x="861854" y="2855941"/>
                </a:lnTo>
                <a:lnTo>
                  <a:pt x="823963" y="2876193"/>
                </a:lnTo>
                <a:lnTo>
                  <a:pt x="783786" y="2890461"/>
                </a:lnTo>
                <a:lnTo>
                  <a:pt x="740020" y="2898904"/>
                </a:lnTo>
                <a:lnTo>
                  <a:pt x="691361" y="2901683"/>
                </a:lnTo>
                <a:lnTo>
                  <a:pt x="1336624" y="2901683"/>
                </a:lnTo>
                <a:lnTo>
                  <a:pt x="1369429" y="2863776"/>
                </a:lnTo>
                <a:lnTo>
                  <a:pt x="1399564" y="2829541"/>
                </a:lnTo>
                <a:lnTo>
                  <a:pt x="1430038" y="2796117"/>
                </a:lnTo>
                <a:lnTo>
                  <a:pt x="1461132" y="2763780"/>
                </a:lnTo>
                <a:lnTo>
                  <a:pt x="1493127" y="2732806"/>
                </a:lnTo>
                <a:lnTo>
                  <a:pt x="1526303" y="2703472"/>
                </a:lnTo>
                <a:lnTo>
                  <a:pt x="1560941" y="2676053"/>
                </a:lnTo>
                <a:lnTo>
                  <a:pt x="1597321" y="2650826"/>
                </a:lnTo>
                <a:lnTo>
                  <a:pt x="1635726" y="2628066"/>
                </a:lnTo>
                <a:lnTo>
                  <a:pt x="1676435" y="2608051"/>
                </a:lnTo>
                <a:lnTo>
                  <a:pt x="1719730" y="2591055"/>
                </a:lnTo>
                <a:lnTo>
                  <a:pt x="1765891" y="2577356"/>
                </a:lnTo>
                <a:lnTo>
                  <a:pt x="1815199" y="2567229"/>
                </a:lnTo>
                <a:lnTo>
                  <a:pt x="1867936" y="2560950"/>
                </a:lnTo>
                <a:lnTo>
                  <a:pt x="1924378" y="2558795"/>
                </a:lnTo>
                <a:lnTo>
                  <a:pt x="2697284" y="2558795"/>
                </a:lnTo>
                <a:lnTo>
                  <a:pt x="2681394" y="2541581"/>
                </a:lnTo>
                <a:lnTo>
                  <a:pt x="2652209" y="2511248"/>
                </a:lnTo>
                <a:lnTo>
                  <a:pt x="2621638" y="2481033"/>
                </a:lnTo>
                <a:lnTo>
                  <a:pt x="2589332" y="2450949"/>
                </a:lnTo>
                <a:lnTo>
                  <a:pt x="2555702" y="2421682"/>
                </a:lnTo>
                <a:lnTo>
                  <a:pt x="2520364" y="2393193"/>
                </a:lnTo>
                <a:lnTo>
                  <a:pt x="2483212" y="2365705"/>
                </a:lnTo>
                <a:lnTo>
                  <a:pt x="2444139" y="2339441"/>
                </a:lnTo>
                <a:lnTo>
                  <a:pt x="2403039" y="2314623"/>
                </a:lnTo>
                <a:lnTo>
                  <a:pt x="2359806" y="2291474"/>
                </a:lnTo>
                <a:lnTo>
                  <a:pt x="2314334" y="2270215"/>
                </a:lnTo>
                <a:lnTo>
                  <a:pt x="2266516" y="2251070"/>
                </a:lnTo>
                <a:lnTo>
                  <a:pt x="2216245" y="2234260"/>
                </a:lnTo>
                <a:lnTo>
                  <a:pt x="2163415" y="2220007"/>
                </a:lnTo>
                <a:lnTo>
                  <a:pt x="2107920" y="2208535"/>
                </a:lnTo>
                <a:lnTo>
                  <a:pt x="2049653" y="2200065"/>
                </a:lnTo>
                <a:lnTo>
                  <a:pt x="1988508" y="2194821"/>
                </a:lnTo>
                <a:lnTo>
                  <a:pt x="1924378" y="2193023"/>
                </a:lnTo>
                <a:close/>
              </a:path>
              <a:path w="4791075" h="3244215">
                <a:moveTo>
                  <a:pt x="4391201" y="2193023"/>
                </a:moveTo>
                <a:lnTo>
                  <a:pt x="4327083" y="2194821"/>
                </a:lnTo>
                <a:lnTo>
                  <a:pt x="4265943" y="2200066"/>
                </a:lnTo>
                <a:lnTo>
                  <a:pt x="4207675" y="2208537"/>
                </a:lnTo>
                <a:lnTo>
                  <a:pt x="4152174" y="2220012"/>
                </a:lnTo>
                <a:lnTo>
                  <a:pt x="4099334" y="2234269"/>
                </a:lnTo>
                <a:lnTo>
                  <a:pt x="4049048" y="2251086"/>
                </a:lnTo>
                <a:lnTo>
                  <a:pt x="4001211" y="2270242"/>
                </a:lnTo>
                <a:lnTo>
                  <a:pt x="3955717" y="2291513"/>
                </a:lnTo>
                <a:lnTo>
                  <a:pt x="3912460" y="2314679"/>
                </a:lnTo>
                <a:lnTo>
                  <a:pt x="3871334" y="2339518"/>
                </a:lnTo>
                <a:lnTo>
                  <a:pt x="3832234" y="2365807"/>
                </a:lnTo>
                <a:lnTo>
                  <a:pt x="3795052" y="2393325"/>
                </a:lnTo>
                <a:lnTo>
                  <a:pt x="3759683" y="2421850"/>
                </a:lnTo>
                <a:lnTo>
                  <a:pt x="3726020" y="2451160"/>
                </a:lnTo>
                <a:lnTo>
                  <a:pt x="3694094" y="2480899"/>
                </a:lnTo>
                <a:lnTo>
                  <a:pt x="3663692" y="2510933"/>
                </a:lnTo>
                <a:lnTo>
                  <a:pt x="3634555" y="2541204"/>
                </a:lnTo>
                <a:lnTo>
                  <a:pt x="3606705" y="2571364"/>
                </a:lnTo>
                <a:lnTo>
                  <a:pt x="3580034" y="2601192"/>
                </a:lnTo>
                <a:lnTo>
                  <a:pt x="3554438" y="2630465"/>
                </a:lnTo>
                <a:lnTo>
                  <a:pt x="3529811" y="2658960"/>
                </a:lnTo>
                <a:lnTo>
                  <a:pt x="3482435" y="2712831"/>
                </a:lnTo>
                <a:lnTo>
                  <a:pt x="3439844" y="2759336"/>
                </a:lnTo>
                <a:lnTo>
                  <a:pt x="3400765" y="2798625"/>
                </a:lnTo>
                <a:lnTo>
                  <a:pt x="3363527" y="2831230"/>
                </a:lnTo>
                <a:lnTo>
                  <a:pt x="3326835" y="2857307"/>
                </a:lnTo>
                <a:lnTo>
                  <a:pt x="3289286" y="2877123"/>
                </a:lnTo>
                <a:lnTo>
                  <a:pt x="3249474" y="2890946"/>
                </a:lnTo>
                <a:lnTo>
                  <a:pt x="3205996" y="2899043"/>
                </a:lnTo>
                <a:lnTo>
                  <a:pt x="3157447" y="2901683"/>
                </a:lnTo>
                <a:lnTo>
                  <a:pt x="3803433" y="2901683"/>
                </a:lnTo>
                <a:lnTo>
                  <a:pt x="3806173" y="2898546"/>
                </a:lnTo>
                <a:lnTo>
                  <a:pt x="3836253" y="2863776"/>
                </a:lnTo>
                <a:lnTo>
                  <a:pt x="3866391" y="2829541"/>
                </a:lnTo>
                <a:lnTo>
                  <a:pt x="3896867" y="2796117"/>
                </a:lnTo>
                <a:lnTo>
                  <a:pt x="3927962" y="2763780"/>
                </a:lnTo>
                <a:lnTo>
                  <a:pt x="3959958" y="2732806"/>
                </a:lnTo>
                <a:lnTo>
                  <a:pt x="3993134" y="2703472"/>
                </a:lnTo>
                <a:lnTo>
                  <a:pt x="4027773" y="2676053"/>
                </a:lnTo>
                <a:lnTo>
                  <a:pt x="4064154" y="2650826"/>
                </a:lnTo>
                <a:lnTo>
                  <a:pt x="4102558" y="2628066"/>
                </a:lnTo>
                <a:lnTo>
                  <a:pt x="4143267" y="2608051"/>
                </a:lnTo>
                <a:lnTo>
                  <a:pt x="4186560" y="2591055"/>
                </a:lnTo>
                <a:lnTo>
                  <a:pt x="4232720" y="2577356"/>
                </a:lnTo>
                <a:lnTo>
                  <a:pt x="4282026" y="2567229"/>
                </a:lnTo>
                <a:lnTo>
                  <a:pt x="4334761" y="2560950"/>
                </a:lnTo>
                <a:lnTo>
                  <a:pt x="4391201" y="2558795"/>
                </a:lnTo>
                <a:lnTo>
                  <a:pt x="4790792" y="2558795"/>
                </a:lnTo>
                <a:lnTo>
                  <a:pt x="4790792" y="2274715"/>
                </a:lnTo>
                <a:lnTo>
                  <a:pt x="4733341" y="2251070"/>
                </a:lnTo>
                <a:lnTo>
                  <a:pt x="4683069" y="2234260"/>
                </a:lnTo>
                <a:lnTo>
                  <a:pt x="4630239" y="2220007"/>
                </a:lnTo>
                <a:lnTo>
                  <a:pt x="4574744" y="2208535"/>
                </a:lnTo>
                <a:lnTo>
                  <a:pt x="4516476" y="2200065"/>
                </a:lnTo>
                <a:lnTo>
                  <a:pt x="4455330" y="2194821"/>
                </a:lnTo>
                <a:lnTo>
                  <a:pt x="4391201" y="2193023"/>
                </a:lnTo>
                <a:close/>
              </a:path>
              <a:path w="4791075" h="3244215">
                <a:moveTo>
                  <a:pt x="4790792" y="2558795"/>
                </a:moveTo>
                <a:lnTo>
                  <a:pt x="4391201" y="2558795"/>
                </a:lnTo>
                <a:lnTo>
                  <a:pt x="4447665" y="2560950"/>
                </a:lnTo>
                <a:lnTo>
                  <a:pt x="4500417" y="2567229"/>
                </a:lnTo>
                <a:lnTo>
                  <a:pt x="4549738" y="2577357"/>
                </a:lnTo>
                <a:lnTo>
                  <a:pt x="4595908" y="2591057"/>
                </a:lnTo>
                <a:lnTo>
                  <a:pt x="4639209" y="2608054"/>
                </a:lnTo>
                <a:lnTo>
                  <a:pt x="4679922" y="2628071"/>
                </a:lnTo>
                <a:lnTo>
                  <a:pt x="4718328" y="2650832"/>
                </a:lnTo>
                <a:lnTo>
                  <a:pt x="4754708" y="2676060"/>
                </a:lnTo>
                <a:lnTo>
                  <a:pt x="4789343" y="2703480"/>
                </a:lnTo>
                <a:lnTo>
                  <a:pt x="4790792" y="2704761"/>
                </a:lnTo>
                <a:lnTo>
                  <a:pt x="4790792" y="2558795"/>
                </a:lnTo>
                <a:close/>
              </a:path>
              <a:path w="4791075" h="3244215">
                <a:moveTo>
                  <a:pt x="240321" y="1473199"/>
                </a:moveTo>
                <a:lnTo>
                  <a:pt x="147956" y="1473199"/>
                </a:lnTo>
                <a:lnTo>
                  <a:pt x="102992" y="1485899"/>
                </a:lnTo>
                <a:lnTo>
                  <a:pt x="62088" y="1511299"/>
                </a:lnTo>
                <a:lnTo>
                  <a:pt x="29762" y="1549399"/>
                </a:lnTo>
                <a:lnTo>
                  <a:pt x="9016" y="1587499"/>
                </a:lnTo>
                <a:lnTo>
                  <a:pt x="0" y="1638299"/>
                </a:lnTo>
                <a:lnTo>
                  <a:pt x="2858" y="1689099"/>
                </a:lnTo>
                <a:lnTo>
                  <a:pt x="17740" y="1727199"/>
                </a:lnTo>
                <a:lnTo>
                  <a:pt x="44791" y="1777999"/>
                </a:lnTo>
                <a:lnTo>
                  <a:pt x="74391" y="1803399"/>
                </a:lnTo>
                <a:lnTo>
                  <a:pt x="104350" y="1841499"/>
                </a:lnTo>
                <a:lnTo>
                  <a:pt x="134899" y="1879599"/>
                </a:lnTo>
                <a:lnTo>
                  <a:pt x="166270" y="1904999"/>
                </a:lnTo>
                <a:lnTo>
                  <a:pt x="198695" y="1943099"/>
                </a:lnTo>
                <a:lnTo>
                  <a:pt x="232408" y="1968499"/>
                </a:lnTo>
                <a:lnTo>
                  <a:pt x="267638" y="1993899"/>
                </a:lnTo>
                <a:lnTo>
                  <a:pt x="304620" y="2019299"/>
                </a:lnTo>
                <a:lnTo>
                  <a:pt x="343585" y="2044699"/>
                </a:lnTo>
                <a:lnTo>
                  <a:pt x="384765" y="2070099"/>
                </a:lnTo>
                <a:lnTo>
                  <a:pt x="428392" y="2095499"/>
                </a:lnTo>
                <a:lnTo>
                  <a:pt x="474698" y="2108199"/>
                </a:lnTo>
                <a:lnTo>
                  <a:pt x="523916" y="2120899"/>
                </a:lnTo>
                <a:lnTo>
                  <a:pt x="576278" y="2133599"/>
                </a:lnTo>
                <a:lnTo>
                  <a:pt x="806952" y="2133599"/>
                </a:lnTo>
                <a:lnTo>
                  <a:pt x="859512" y="2120899"/>
                </a:lnTo>
                <a:lnTo>
                  <a:pt x="908895" y="2108199"/>
                </a:lnTo>
                <a:lnTo>
                  <a:pt x="955336" y="2095499"/>
                </a:lnTo>
                <a:lnTo>
                  <a:pt x="999071" y="2070099"/>
                </a:lnTo>
                <a:lnTo>
                  <a:pt x="1040335" y="2044699"/>
                </a:lnTo>
                <a:lnTo>
                  <a:pt x="1079363" y="2019299"/>
                </a:lnTo>
                <a:lnTo>
                  <a:pt x="1116391" y="1993899"/>
                </a:lnTo>
                <a:lnTo>
                  <a:pt x="1151653" y="1968499"/>
                </a:lnTo>
                <a:lnTo>
                  <a:pt x="1185386" y="1943099"/>
                </a:lnTo>
                <a:lnTo>
                  <a:pt x="1217825" y="1904999"/>
                </a:lnTo>
                <a:lnTo>
                  <a:pt x="1249204" y="1866899"/>
                </a:lnTo>
                <a:lnTo>
                  <a:pt x="1279759" y="1841499"/>
                </a:lnTo>
                <a:lnTo>
                  <a:pt x="1309726" y="1803399"/>
                </a:lnTo>
                <a:lnTo>
                  <a:pt x="1329469" y="1777999"/>
                </a:lnTo>
                <a:lnTo>
                  <a:pt x="691361" y="1777999"/>
                </a:lnTo>
                <a:lnTo>
                  <a:pt x="643020" y="1765299"/>
                </a:lnTo>
                <a:lnTo>
                  <a:pt x="599719" y="1765299"/>
                </a:lnTo>
                <a:lnTo>
                  <a:pt x="560052" y="1752599"/>
                </a:lnTo>
                <a:lnTo>
                  <a:pt x="522616" y="1727199"/>
                </a:lnTo>
                <a:lnTo>
                  <a:pt x="486003" y="1701799"/>
                </a:lnTo>
                <a:lnTo>
                  <a:pt x="448810" y="1676399"/>
                </a:lnTo>
                <a:lnTo>
                  <a:pt x="409631" y="1625599"/>
                </a:lnTo>
                <a:lnTo>
                  <a:pt x="367061" y="1587499"/>
                </a:lnTo>
                <a:lnTo>
                  <a:pt x="319695" y="1536699"/>
                </a:lnTo>
                <a:lnTo>
                  <a:pt x="282850" y="1498599"/>
                </a:lnTo>
                <a:lnTo>
                  <a:pt x="240321" y="1473199"/>
                </a:lnTo>
                <a:close/>
              </a:path>
              <a:path w="4791075" h="3244215">
                <a:moveTo>
                  <a:pt x="2699966" y="1435099"/>
                </a:moveTo>
                <a:lnTo>
                  <a:pt x="2033564" y="1435099"/>
                </a:lnTo>
                <a:lnTo>
                  <a:pt x="2082878" y="1447799"/>
                </a:lnTo>
                <a:lnTo>
                  <a:pt x="2129047" y="1460499"/>
                </a:lnTo>
                <a:lnTo>
                  <a:pt x="2172355" y="1485899"/>
                </a:lnTo>
                <a:lnTo>
                  <a:pt x="2213083" y="1498599"/>
                </a:lnTo>
                <a:lnTo>
                  <a:pt x="2251512" y="1523999"/>
                </a:lnTo>
                <a:lnTo>
                  <a:pt x="2287925" y="1549399"/>
                </a:lnTo>
                <a:lnTo>
                  <a:pt x="2322604" y="1574799"/>
                </a:lnTo>
                <a:lnTo>
                  <a:pt x="2355830" y="1600199"/>
                </a:lnTo>
                <a:lnTo>
                  <a:pt x="2387886" y="1638299"/>
                </a:lnTo>
                <a:lnTo>
                  <a:pt x="2419052" y="1663699"/>
                </a:lnTo>
                <a:lnTo>
                  <a:pt x="2449612" y="1701799"/>
                </a:lnTo>
                <a:lnTo>
                  <a:pt x="2510039" y="1777999"/>
                </a:lnTo>
                <a:lnTo>
                  <a:pt x="2539715" y="1803399"/>
                </a:lnTo>
                <a:lnTo>
                  <a:pt x="2569750" y="1841499"/>
                </a:lnTo>
                <a:lnTo>
                  <a:pt x="2600376" y="1866899"/>
                </a:lnTo>
                <a:lnTo>
                  <a:pt x="2631825" y="1904999"/>
                </a:lnTo>
                <a:lnTo>
                  <a:pt x="2664331" y="1943099"/>
                </a:lnTo>
                <a:lnTo>
                  <a:pt x="2698125" y="1968499"/>
                </a:lnTo>
                <a:lnTo>
                  <a:pt x="2733441" y="1993899"/>
                </a:lnTo>
                <a:lnTo>
                  <a:pt x="2770511" y="2019299"/>
                </a:lnTo>
                <a:lnTo>
                  <a:pt x="2809567" y="2044699"/>
                </a:lnTo>
                <a:lnTo>
                  <a:pt x="2850843" y="2070099"/>
                </a:lnTo>
                <a:lnTo>
                  <a:pt x="2894571" y="2095499"/>
                </a:lnTo>
                <a:lnTo>
                  <a:pt x="2940984" y="2108199"/>
                </a:lnTo>
                <a:lnTo>
                  <a:pt x="2990313" y="2120899"/>
                </a:lnTo>
                <a:lnTo>
                  <a:pt x="3042793" y="2133599"/>
                </a:lnTo>
                <a:lnTo>
                  <a:pt x="3273239" y="2133599"/>
                </a:lnTo>
                <a:lnTo>
                  <a:pt x="3325628" y="2120899"/>
                </a:lnTo>
                <a:lnTo>
                  <a:pt x="3374884" y="2108199"/>
                </a:lnTo>
                <a:lnTo>
                  <a:pt x="3421238" y="2095499"/>
                </a:lnTo>
                <a:lnTo>
                  <a:pt x="3464925" y="2070099"/>
                </a:lnTo>
                <a:lnTo>
                  <a:pt x="3506175" y="2044699"/>
                </a:lnTo>
                <a:lnTo>
                  <a:pt x="3545222" y="2019299"/>
                </a:lnTo>
                <a:lnTo>
                  <a:pt x="3582298" y="1993899"/>
                </a:lnTo>
                <a:lnTo>
                  <a:pt x="3617635" y="1968499"/>
                </a:lnTo>
                <a:lnTo>
                  <a:pt x="3651466" y="1943099"/>
                </a:lnTo>
                <a:lnTo>
                  <a:pt x="3684023" y="1904999"/>
                </a:lnTo>
                <a:lnTo>
                  <a:pt x="3715539" y="1866899"/>
                </a:lnTo>
                <a:lnTo>
                  <a:pt x="3746246" y="1841499"/>
                </a:lnTo>
                <a:lnTo>
                  <a:pt x="3776376" y="1803399"/>
                </a:lnTo>
                <a:lnTo>
                  <a:pt x="3796234" y="1777999"/>
                </a:lnTo>
                <a:lnTo>
                  <a:pt x="3158132" y="1777999"/>
                </a:lnTo>
                <a:lnTo>
                  <a:pt x="3109546" y="1765299"/>
                </a:lnTo>
                <a:lnTo>
                  <a:pt x="3065807" y="1765299"/>
                </a:lnTo>
                <a:lnTo>
                  <a:pt x="3025619" y="1752599"/>
                </a:lnTo>
                <a:lnTo>
                  <a:pt x="2987684" y="1727199"/>
                </a:lnTo>
                <a:lnTo>
                  <a:pt x="2950705" y="1701799"/>
                </a:lnTo>
                <a:lnTo>
                  <a:pt x="2913384" y="1663699"/>
                </a:lnTo>
                <a:lnTo>
                  <a:pt x="2874422" y="1625599"/>
                </a:lnTo>
                <a:lnTo>
                  <a:pt x="2832524" y="1587499"/>
                </a:lnTo>
                <a:lnTo>
                  <a:pt x="2786391" y="1536699"/>
                </a:lnTo>
                <a:lnTo>
                  <a:pt x="2761680" y="1498599"/>
                </a:lnTo>
                <a:lnTo>
                  <a:pt x="2736008" y="1473199"/>
                </a:lnTo>
                <a:lnTo>
                  <a:pt x="2709270" y="1447799"/>
                </a:lnTo>
                <a:lnTo>
                  <a:pt x="2699966" y="1435099"/>
                </a:lnTo>
                <a:close/>
              </a:path>
              <a:path w="4791075" h="3244215">
                <a:moveTo>
                  <a:pt x="2049632" y="1066800"/>
                </a:moveTo>
                <a:lnTo>
                  <a:pt x="1799128" y="1066800"/>
                </a:lnTo>
                <a:lnTo>
                  <a:pt x="1740867" y="1079499"/>
                </a:lnTo>
                <a:lnTo>
                  <a:pt x="1685374" y="1092199"/>
                </a:lnTo>
                <a:lnTo>
                  <a:pt x="1632543" y="1104899"/>
                </a:lnTo>
                <a:lnTo>
                  <a:pt x="1582268" y="1117599"/>
                </a:lnTo>
                <a:lnTo>
                  <a:pt x="1534442" y="1142999"/>
                </a:lnTo>
                <a:lnTo>
                  <a:pt x="1488961" y="1168399"/>
                </a:lnTo>
                <a:lnTo>
                  <a:pt x="1445717" y="1181099"/>
                </a:lnTo>
                <a:lnTo>
                  <a:pt x="1404604" y="1206499"/>
                </a:lnTo>
                <a:lnTo>
                  <a:pt x="1365517" y="1244599"/>
                </a:lnTo>
                <a:lnTo>
                  <a:pt x="1328349" y="1269999"/>
                </a:lnTo>
                <a:lnTo>
                  <a:pt x="1292994" y="1295399"/>
                </a:lnTo>
                <a:lnTo>
                  <a:pt x="1259346" y="1320799"/>
                </a:lnTo>
                <a:lnTo>
                  <a:pt x="1227299" y="1358899"/>
                </a:lnTo>
                <a:lnTo>
                  <a:pt x="1196747" y="1384299"/>
                </a:lnTo>
                <a:lnTo>
                  <a:pt x="1167584" y="1409699"/>
                </a:lnTo>
                <a:lnTo>
                  <a:pt x="1139703" y="1447799"/>
                </a:lnTo>
                <a:lnTo>
                  <a:pt x="1112999" y="1473199"/>
                </a:lnTo>
                <a:lnTo>
                  <a:pt x="1087365" y="1498599"/>
                </a:lnTo>
                <a:lnTo>
                  <a:pt x="1062696" y="1536699"/>
                </a:lnTo>
                <a:lnTo>
                  <a:pt x="1016667" y="1587499"/>
                </a:lnTo>
                <a:lnTo>
                  <a:pt x="974873" y="1625599"/>
                </a:lnTo>
                <a:lnTo>
                  <a:pt x="936011" y="1663699"/>
                </a:lnTo>
                <a:lnTo>
                  <a:pt x="898777" y="1701799"/>
                </a:lnTo>
                <a:lnTo>
                  <a:pt x="861865" y="1727199"/>
                </a:lnTo>
                <a:lnTo>
                  <a:pt x="823972" y="1752599"/>
                </a:lnTo>
                <a:lnTo>
                  <a:pt x="783793" y="1765299"/>
                </a:lnTo>
                <a:lnTo>
                  <a:pt x="740024" y="1765299"/>
                </a:lnTo>
                <a:lnTo>
                  <a:pt x="691361" y="1777999"/>
                </a:lnTo>
                <a:lnTo>
                  <a:pt x="1329469" y="1777999"/>
                </a:lnTo>
                <a:lnTo>
                  <a:pt x="1339340" y="1765299"/>
                </a:lnTo>
                <a:lnTo>
                  <a:pt x="1369418" y="1739899"/>
                </a:lnTo>
                <a:lnTo>
                  <a:pt x="1399554" y="1701799"/>
                </a:lnTo>
                <a:lnTo>
                  <a:pt x="1430029" y="1663699"/>
                </a:lnTo>
                <a:lnTo>
                  <a:pt x="1461124" y="1638299"/>
                </a:lnTo>
                <a:lnTo>
                  <a:pt x="1493119" y="1600199"/>
                </a:lnTo>
                <a:lnTo>
                  <a:pt x="1526296" y="1574799"/>
                </a:lnTo>
                <a:lnTo>
                  <a:pt x="1560935" y="1549399"/>
                </a:lnTo>
                <a:lnTo>
                  <a:pt x="1597317" y="1523999"/>
                </a:lnTo>
                <a:lnTo>
                  <a:pt x="1635723" y="1498599"/>
                </a:lnTo>
                <a:lnTo>
                  <a:pt x="1676433" y="1485899"/>
                </a:lnTo>
                <a:lnTo>
                  <a:pt x="1719728" y="1460499"/>
                </a:lnTo>
                <a:lnTo>
                  <a:pt x="1765890" y="1447799"/>
                </a:lnTo>
                <a:lnTo>
                  <a:pt x="1815198" y="1435099"/>
                </a:lnTo>
                <a:lnTo>
                  <a:pt x="2699966" y="1435099"/>
                </a:lnTo>
                <a:lnTo>
                  <a:pt x="2681358" y="1409699"/>
                </a:lnTo>
                <a:lnTo>
                  <a:pt x="2652168" y="1384299"/>
                </a:lnTo>
                <a:lnTo>
                  <a:pt x="2621591" y="1358899"/>
                </a:lnTo>
                <a:lnTo>
                  <a:pt x="2589522" y="1320799"/>
                </a:lnTo>
                <a:lnTo>
                  <a:pt x="2555855" y="1295399"/>
                </a:lnTo>
                <a:lnTo>
                  <a:pt x="2520484" y="1269999"/>
                </a:lnTo>
                <a:lnTo>
                  <a:pt x="2483301" y="1244599"/>
                </a:lnTo>
                <a:lnTo>
                  <a:pt x="2444202" y="1206499"/>
                </a:lnTo>
                <a:lnTo>
                  <a:pt x="2403079" y="1181099"/>
                </a:lnTo>
                <a:lnTo>
                  <a:pt x="2359826" y="1168399"/>
                </a:lnTo>
                <a:lnTo>
                  <a:pt x="2314337" y="1142999"/>
                </a:lnTo>
                <a:lnTo>
                  <a:pt x="2266506" y="1117599"/>
                </a:lnTo>
                <a:lnTo>
                  <a:pt x="2216226" y="1104899"/>
                </a:lnTo>
                <a:lnTo>
                  <a:pt x="2163392" y="1092199"/>
                </a:lnTo>
                <a:lnTo>
                  <a:pt x="2107896" y="1079499"/>
                </a:lnTo>
                <a:lnTo>
                  <a:pt x="2049632" y="1066800"/>
                </a:lnTo>
                <a:close/>
              </a:path>
              <a:path w="4791075" h="3244215">
                <a:moveTo>
                  <a:pt x="4516455" y="1066800"/>
                </a:moveTo>
                <a:lnTo>
                  <a:pt x="4265951" y="1066800"/>
                </a:lnTo>
                <a:lnTo>
                  <a:pt x="4207690" y="1079499"/>
                </a:lnTo>
                <a:lnTo>
                  <a:pt x="4152199" y="1092199"/>
                </a:lnTo>
                <a:lnTo>
                  <a:pt x="4099370" y="1104899"/>
                </a:lnTo>
                <a:lnTo>
                  <a:pt x="4049098" y="1117599"/>
                </a:lnTo>
                <a:lnTo>
                  <a:pt x="4001276" y="1142999"/>
                </a:lnTo>
                <a:lnTo>
                  <a:pt x="3955800" y="1168399"/>
                </a:lnTo>
                <a:lnTo>
                  <a:pt x="3912563" y="1181099"/>
                </a:lnTo>
                <a:lnTo>
                  <a:pt x="3871460" y="1206499"/>
                </a:lnTo>
                <a:lnTo>
                  <a:pt x="3832383" y="1231899"/>
                </a:lnTo>
                <a:lnTo>
                  <a:pt x="3795228" y="1269999"/>
                </a:lnTo>
                <a:lnTo>
                  <a:pt x="3759889" y="1295399"/>
                </a:lnTo>
                <a:lnTo>
                  <a:pt x="3726259" y="1320799"/>
                </a:lnTo>
                <a:lnTo>
                  <a:pt x="3694233" y="1358899"/>
                </a:lnTo>
                <a:lnTo>
                  <a:pt x="3663704" y="1384299"/>
                </a:lnTo>
                <a:lnTo>
                  <a:pt x="3634568" y="1409699"/>
                </a:lnTo>
                <a:lnTo>
                  <a:pt x="3606717" y="1447799"/>
                </a:lnTo>
                <a:lnTo>
                  <a:pt x="3580047" y="1473199"/>
                </a:lnTo>
                <a:lnTo>
                  <a:pt x="3554451" y="1498599"/>
                </a:lnTo>
                <a:lnTo>
                  <a:pt x="3529823" y="1536699"/>
                </a:lnTo>
                <a:lnTo>
                  <a:pt x="3482517" y="1587499"/>
                </a:lnTo>
                <a:lnTo>
                  <a:pt x="3439979" y="1625599"/>
                </a:lnTo>
                <a:lnTo>
                  <a:pt x="3400809" y="1676399"/>
                </a:lnTo>
                <a:lnTo>
                  <a:pt x="3363607" y="1701799"/>
                </a:lnTo>
                <a:lnTo>
                  <a:pt x="3326973" y="1727199"/>
                </a:lnTo>
                <a:lnTo>
                  <a:pt x="3289509" y="1752599"/>
                </a:lnTo>
                <a:lnTo>
                  <a:pt x="3249814" y="1765299"/>
                </a:lnTo>
                <a:lnTo>
                  <a:pt x="3206488" y="1765299"/>
                </a:lnTo>
                <a:lnTo>
                  <a:pt x="3158132" y="1777999"/>
                </a:lnTo>
                <a:lnTo>
                  <a:pt x="3796234" y="1777999"/>
                </a:lnTo>
                <a:lnTo>
                  <a:pt x="3806163" y="1765299"/>
                </a:lnTo>
                <a:lnTo>
                  <a:pt x="3836243" y="1739899"/>
                </a:lnTo>
                <a:lnTo>
                  <a:pt x="3866381" y="1701799"/>
                </a:lnTo>
                <a:lnTo>
                  <a:pt x="3896857" y="1663699"/>
                </a:lnTo>
                <a:lnTo>
                  <a:pt x="3927954" y="1638299"/>
                </a:lnTo>
                <a:lnTo>
                  <a:pt x="3959950" y="1600199"/>
                </a:lnTo>
                <a:lnTo>
                  <a:pt x="3993128" y="1574799"/>
                </a:lnTo>
                <a:lnTo>
                  <a:pt x="4027767" y="1549399"/>
                </a:lnTo>
                <a:lnTo>
                  <a:pt x="4064149" y="1523999"/>
                </a:lnTo>
                <a:lnTo>
                  <a:pt x="4102554" y="1498599"/>
                </a:lnTo>
                <a:lnTo>
                  <a:pt x="4143264" y="1485899"/>
                </a:lnTo>
                <a:lnTo>
                  <a:pt x="4186558" y="1460499"/>
                </a:lnTo>
                <a:lnTo>
                  <a:pt x="4232718" y="1447799"/>
                </a:lnTo>
                <a:lnTo>
                  <a:pt x="4282025" y="1435099"/>
                </a:lnTo>
                <a:lnTo>
                  <a:pt x="4790792" y="1435099"/>
                </a:lnTo>
                <a:lnTo>
                  <a:pt x="4790792" y="1142999"/>
                </a:lnTo>
                <a:lnTo>
                  <a:pt x="4781160" y="1142999"/>
                </a:lnTo>
                <a:lnTo>
                  <a:pt x="4733329" y="1117599"/>
                </a:lnTo>
                <a:lnTo>
                  <a:pt x="4683049" y="1104899"/>
                </a:lnTo>
                <a:lnTo>
                  <a:pt x="4630214" y="1092199"/>
                </a:lnTo>
                <a:lnTo>
                  <a:pt x="4574718" y="1079499"/>
                </a:lnTo>
                <a:lnTo>
                  <a:pt x="4516455" y="1066800"/>
                </a:lnTo>
                <a:close/>
              </a:path>
              <a:path w="4791075" h="3244215">
                <a:moveTo>
                  <a:pt x="4790792" y="1435099"/>
                </a:moveTo>
                <a:lnTo>
                  <a:pt x="4500385" y="1435099"/>
                </a:lnTo>
                <a:lnTo>
                  <a:pt x="4549695" y="1447799"/>
                </a:lnTo>
                <a:lnTo>
                  <a:pt x="4595858" y="1460499"/>
                </a:lnTo>
                <a:lnTo>
                  <a:pt x="4639155" y="1485899"/>
                </a:lnTo>
                <a:lnTo>
                  <a:pt x="4679866" y="1498599"/>
                </a:lnTo>
                <a:lnTo>
                  <a:pt x="4718273" y="1523999"/>
                </a:lnTo>
                <a:lnTo>
                  <a:pt x="4754655" y="1549399"/>
                </a:lnTo>
                <a:lnTo>
                  <a:pt x="4789295" y="1574799"/>
                </a:lnTo>
                <a:lnTo>
                  <a:pt x="4790792" y="1574799"/>
                </a:lnTo>
                <a:lnTo>
                  <a:pt x="4790792" y="1435099"/>
                </a:lnTo>
                <a:close/>
              </a:path>
              <a:path w="4791075" h="3244215">
                <a:moveTo>
                  <a:pt x="194544" y="406400"/>
                </a:moveTo>
                <a:lnTo>
                  <a:pt x="147956" y="406400"/>
                </a:lnTo>
                <a:lnTo>
                  <a:pt x="102992" y="419100"/>
                </a:lnTo>
                <a:lnTo>
                  <a:pt x="62088" y="457200"/>
                </a:lnTo>
                <a:lnTo>
                  <a:pt x="29762" y="482600"/>
                </a:lnTo>
                <a:lnTo>
                  <a:pt x="9016" y="533400"/>
                </a:lnTo>
                <a:lnTo>
                  <a:pt x="0" y="571500"/>
                </a:lnTo>
                <a:lnTo>
                  <a:pt x="2858" y="622300"/>
                </a:lnTo>
                <a:lnTo>
                  <a:pt x="17740" y="673100"/>
                </a:lnTo>
                <a:lnTo>
                  <a:pt x="44791" y="711200"/>
                </a:lnTo>
                <a:lnTo>
                  <a:pt x="74391" y="749300"/>
                </a:lnTo>
                <a:lnTo>
                  <a:pt x="104350" y="774700"/>
                </a:lnTo>
                <a:lnTo>
                  <a:pt x="134899" y="812800"/>
                </a:lnTo>
                <a:lnTo>
                  <a:pt x="166270" y="838200"/>
                </a:lnTo>
                <a:lnTo>
                  <a:pt x="198695" y="876300"/>
                </a:lnTo>
                <a:lnTo>
                  <a:pt x="232408" y="901700"/>
                </a:lnTo>
                <a:lnTo>
                  <a:pt x="267638" y="939800"/>
                </a:lnTo>
                <a:lnTo>
                  <a:pt x="304620" y="965200"/>
                </a:lnTo>
                <a:lnTo>
                  <a:pt x="343585" y="990600"/>
                </a:lnTo>
                <a:lnTo>
                  <a:pt x="384765" y="1003300"/>
                </a:lnTo>
                <a:lnTo>
                  <a:pt x="428392" y="1028700"/>
                </a:lnTo>
                <a:lnTo>
                  <a:pt x="474698" y="1041400"/>
                </a:lnTo>
                <a:lnTo>
                  <a:pt x="523916" y="1054100"/>
                </a:lnTo>
                <a:lnTo>
                  <a:pt x="576278" y="1066800"/>
                </a:lnTo>
                <a:lnTo>
                  <a:pt x="632015" y="1079499"/>
                </a:lnTo>
                <a:lnTo>
                  <a:pt x="750980" y="1079499"/>
                </a:lnTo>
                <a:lnTo>
                  <a:pt x="806952" y="1066800"/>
                </a:lnTo>
                <a:lnTo>
                  <a:pt x="859512" y="1054100"/>
                </a:lnTo>
                <a:lnTo>
                  <a:pt x="908895" y="1041400"/>
                </a:lnTo>
                <a:lnTo>
                  <a:pt x="955336" y="1028700"/>
                </a:lnTo>
                <a:lnTo>
                  <a:pt x="999071" y="1003300"/>
                </a:lnTo>
                <a:lnTo>
                  <a:pt x="1040335" y="990600"/>
                </a:lnTo>
                <a:lnTo>
                  <a:pt x="1079363" y="965200"/>
                </a:lnTo>
                <a:lnTo>
                  <a:pt x="1116391" y="939800"/>
                </a:lnTo>
                <a:lnTo>
                  <a:pt x="1151653" y="901700"/>
                </a:lnTo>
                <a:lnTo>
                  <a:pt x="1185386" y="876300"/>
                </a:lnTo>
                <a:lnTo>
                  <a:pt x="1217825" y="838200"/>
                </a:lnTo>
                <a:lnTo>
                  <a:pt x="1249204" y="812800"/>
                </a:lnTo>
                <a:lnTo>
                  <a:pt x="1279759" y="774700"/>
                </a:lnTo>
                <a:lnTo>
                  <a:pt x="1309726" y="736600"/>
                </a:lnTo>
                <a:lnTo>
                  <a:pt x="1339340" y="711200"/>
                </a:lnTo>
                <a:lnTo>
                  <a:pt x="643020" y="711200"/>
                </a:lnTo>
                <a:lnTo>
                  <a:pt x="599719" y="698500"/>
                </a:lnTo>
                <a:lnTo>
                  <a:pt x="560052" y="685800"/>
                </a:lnTo>
                <a:lnTo>
                  <a:pt x="522616" y="673100"/>
                </a:lnTo>
                <a:lnTo>
                  <a:pt x="486003" y="635000"/>
                </a:lnTo>
                <a:lnTo>
                  <a:pt x="448810" y="609600"/>
                </a:lnTo>
                <a:lnTo>
                  <a:pt x="409631" y="571500"/>
                </a:lnTo>
                <a:lnTo>
                  <a:pt x="367061" y="520700"/>
                </a:lnTo>
                <a:lnTo>
                  <a:pt x="319695" y="469900"/>
                </a:lnTo>
                <a:lnTo>
                  <a:pt x="282850" y="431800"/>
                </a:lnTo>
                <a:lnTo>
                  <a:pt x="240321" y="419100"/>
                </a:lnTo>
                <a:lnTo>
                  <a:pt x="194544" y="406400"/>
                </a:lnTo>
                <a:close/>
              </a:path>
              <a:path w="4791075" h="3244215">
                <a:moveTo>
                  <a:pt x="2695314" y="368300"/>
                </a:moveTo>
                <a:lnTo>
                  <a:pt x="1980825" y="368300"/>
                </a:lnTo>
                <a:lnTo>
                  <a:pt x="2033563" y="381000"/>
                </a:lnTo>
                <a:lnTo>
                  <a:pt x="2082873" y="381000"/>
                </a:lnTo>
                <a:lnTo>
                  <a:pt x="2129036" y="406400"/>
                </a:lnTo>
                <a:lnTo>
                  <a:pt x="2172332" y="419100"/>
                </a:lnTo>
                <a:lnTo>
                  <a:pt x="2213044" y="431800"/>
                </a:lnTo>
                <a:lnTo>
                  <a:pt x="2251450" y="457200"/>
                </a:lnTo>
                <a:lnTo>
                  <a:pt x="2287833" y="482600"/>
                </a:lnTo>
                <a:lnTo>
                  <a:pt x="2322472" y="508000"/>
                </a:lnTo>
                <a:lnTo>
                  <a:pt x="2355649" y="546100"/>
                </a:lnTo>
                <a:lnTo>
                  <a:pt x="2387645" y="571500"/>
                </a:lnTo>
                <a:lnTo>
                  <a:pt x="2418740" y="609600"/>
                </a:lnTo>
                <a:lnTo>
                  <a:pt x="2449215" y="635000"/>
                </a:lnTo>
                <a:lnTo>
                  <a:pt x="2509429" y="711200"/>
                </a:lnTo>
                <a:lnTo>
                  <a:pt x="2540467" y="749300"/>
                </a:lnTo>
                <a:lnTo>
                  <a:pt x="2570427" y="774700"/>
                </a:lnTo>
                <a:lnTo>
                  <a:pt x="2600978" y="812800"/>
                </a:lnTo>
                <a:lnTo>
                  <a:pt x="2632351" y="838200"/>
                </a:lnTo>
                <a:lnTo>
                  <a:pt x="2664777" y="876300"/>
                </a:lnTo>
                <a:lnTo>
                  <a:pt x="2698490" y="901700"/>
                </a:lnTo>
                <a:lnTo>
                  <a:pt x="2733722" y="939800"/>
                </a:lnTo>
                <a:lnTo>
                  <a:pt x="2770705" y="965200"/>
                </a:lnTo>
                <a:lnTo>
                  <a:pt x="2809670" y="990600"/>
                </a:lnTo>
                <a:lnTo>
                  <a:pt x="2850850" y="1003300"/>
                </a:lnTo>
                <a:lnTo>
                  <a:pt x="2894477" y="1028700"/>
                </a:lnTo>
                <a:lnTo>
                  <a:pt x="2940784" y="1041400"/>
                </a:lnTo>
                <a:lnTo>
                  <a:pt x="2990002" y="1054100"/>
                </a:lnTo>
                <a:lnTo>
                  <a:pt x="3042364" y="1066800"/>
                </a:lnTo>
                <a:lnTo>
                  <a:pt x="3098101" y="1079499"/>
                </a:lnTo>
                <a:lnTo>
                  <a:pt x="3216920" y="1079499"/>
                </a:lnTo>
                <a:lnTo>
                  <a:pt x="3272780" y="1066800"/>
                </a:lnTo>
                <a:lnTo>
                  <a:pt x="3325260" y="1054100"/>
                </a:lnTo>
                <a:lnTo>
                  <a:pt x="3374594" y="1041400"/>
                </a:lnTo>
                <a:lnTo>
                  <a:pt x="3421015" y="1028700"/>
                </a:lnTo>
                <a:lnTo>
                  <a:pt x="3464757" y="1003300"/>
                </a:lnTo>
                <a:lnTo>
                  <a:pt x="3506053" y="990600"/>
                </a:lnTo>
                <a:lnTo>
                  <a:pt x="3545136" y="965200"/>
                </a:lnTo>
                <a:lnTo>
                  <a:pt x="3582240" y="939800"/>
                </a:lnTo>
                <a:lnTo>
                  <a:pt x="3617599" y="901700"/>
                </a:lnTo>
                <a:lnTo>
                  <a:pt x="3651445" y="876300"/>
                </a:lnTo>
                <a:lnTo>
                  <a:pt x="3684012" y="838200"/>
                </a:lnTo>
                <a:lnTo>
                  <a:pt x="3715534" y="812800"/>
                </a:lnTo>
                <a:lnTo>
                  <a:pt x="3746244" y="774700"/>
                </a:lnTo>
                <a:lnTo>
                  <a:pt x="3776376" y="736600"/>
                </a:lnTo>
                <a:lnTo>
                  <a:pt x="3806163" y="711200"/>
                </a:lnTo>
                <a:lnTo>
                  <a:pt x="3109103" y="711200"/>
                </a:lnTo>
                <a:lnTo>
                  <a:pt x="3065806" y="698500"/>
                </a:lnTo>
                <a:lnTo>
                  <a:pt x="3026155" y="685800"/>
                </a:lnTo>
                <a:lnTo>
                  <a:pt x="2988750" y="673100"/>
                </a:lnTo>
                <a:lnTo>
                  <a:pt x="2952190" y="635000"/>
                </a:lnTo>
                <a:lnTo>
                  <a:pt x="2915074" y="609600"/>
                </a:lnTo>
                <a:lnTo>
                  <a:pt x="2876003" y="571500"/>
                </a:lnTo>
                <a:lnTo>
                  <a:pt x="2833575" y="520700"/>
                </a:lnTo>
                <a:lnTo>
                  <a:pt x="2786391" y="469900"/>
                </a:lnTo>
                <a:lnTo>
                  <a:pt x="2761680" y="444500"/>
                </a:lnTo>
                <a:lnTo>
                  <a:pt x="2736008" y="406400"/>
                </a:lnTo>
                <a:lnTo>
                  <a:pt x="2709270" y="381000"/>
                </a:lnTo>
                <a:lnTo>
                  <a:pt x="2695314" y="368300"/>
                </a:lnTo>
                <a:close/>
              </a:path>
              <a:path w="4791075" h="3244215">
                <a:moveTo>
                  <a:pt x="2107896" y="12700"/>
                </a:moveTo>
                <a:lnTo>
                  <a:pt x="1740867" y="12700"/>
                </a:lnTo>
                <a:lnTo>
                  <a:pt x="1685374" y="25400"/>
                </a:lnTo>
                <a:lnTo>
                  <a:pt x="1632543" y="38100"/>
                </a:lnTo>
                <a:lnTo>
                  <a:pt x="1582268" y="63500"/>
                </a:lnTo>
                <a:lnTo>
                  <a:pt x="1534442" y="76200"/>
                </a:lnTo>
                <a:lnTo>
                  <a:pt x="1488961" y="101600"/>
                </a:lnTo>
                <a:lnTo>
                  <a:pt x="1445717" y="127000"/>
                </a:lnTo>
                <a:lnTo>
                  <a:pt x="1404604" y="152400"/>
                </a:lnTo>
                <a:lnTo>
                  <a:pt x="1365517" y="177800"/>
                </a:lnTo>
                <a:lnTo>
                  <a:pt x="1328349" y="203200"/>
                </a:lnTo>
                <a:lnTo>
                  <a:pt x="1292994" y="228600"/>
                </a:lnTo>
                <a:lnTo>
                  <a:pt x="1259346" y="266700"/>
                </a:lnTo>
                <a:lnTo>
                  <a:pt x="1227299" y="292100"/>
                </a:lnTo>
                <a:lnTo>
                  <a:pt x="1196747" y="317500"/>
                </a:lnTo>
                <a:lnTo>
                  <a:pt x="1167584" y="355600"/>
                </a:lnTo>
                <a:lnTo>
                  <a:pt x="1139703" y="381000"/>
                </a:lnTo>
                <a:lnTo>
                  <a:pt x="1112999" y="406400"/>
                </a:lnTo>
                <a:lnTo>
                  <a:pt x="1087365" y="444500"/>
                </a:lnTo>
                <a:lnTo>
                  <a:pt x="1062696" y="469900"/>
                </a:lnTo>
                <a:lnTo>
                  <a:pt x="1016667" y="520700"/>
                </a:lnTo>
                <a:lnTo>
                  <a:pt x="974873" y="571500"/>
                </a:lnTo>
                <a:lnTo>
                  <a:pt x="936011" y="609600"/>
                </a:lnTo>
                <a:lnTo>
                  <a:pt x="861865" y="660400"/>
                </a:lnTo>
                <a:lnTo>
                  <a:pt x="823972" y="685800"/>
                </a:lnTo>
                <a:lnTo>
                  <a:pt x="783793" y="698500"/>
                </a:lnTo>
                <a:lnTo>
                  <a:pt x="740024" y="711200"/>
                </a:lnTo>
                <a:lnTo>
                  <a:pt x="1339340" y="711200"/>
                </a:lnTo>
                <a:lnTo>
                  <a:pt x="1399554" y="635000"/>
                </a:lnTo>
                <a:lnTo>
                  <a:pt x="1430029" y="609600"/>
                </a:lnTo>
                <a:lnTo>
                  <a:pt x="1461124" y="571500"/>
                </a:lnTo>
                <a:lnTo>
                  <a:pt x="1493119" y="546100"/>
                </a:lnTo>
                <a:lnTo>
                  <a:pt x="1526296" y="508000"/>
                </a:lnTo>
                <a:lnTo>
                  <a:pt x="1560935" y="482600"/>
                </a:lnTo>
                <a:lnTo>
                  <a:pt x="1597317" y="457200"/>
                </a:lnTo>
                <a:lnTo>
                  <a:pt x="1635723" y="431800"/>
                </a:lnTo>
                <a:lnTo>
                  <a:pt x="1676433" y="419100"/>
                </a:lnTo>
                <a:lnTo>
                  <a:pt x="1719728" y="406400"/>
                </a:lnTo>
                <a:lnTo>
                  <a:pt x="1765890" y="381000"/>
                </a:lnTo>
                <a:lnTo>
                  <a:pt x="1815198" y="381000"/>
                </a:lnTo>
                <a:lnTo>
                  <a:pt x="1867934" y="368300"/>
                </a:lnTo>
                <a:lnTo>
                  <a:pt x="2695314" y="368300"/>
                </a:lnTo>
                <a:lnTo>
                  <a:pt x="2681358" y="355600"/>
                </a:lnTo>
                <a:lnTo>
                  <a:pt x="2652168" y="317500"/>
                </a:lnTo>
                <a:lnTo>
                  <a:pt x="2621591" y="292100"/>
                </a:lnTo>
                <a:lnTo>
                  <a:pt x="2589522" y="266700"/>
                </a:lnTo>
                <a:lnTo>
                  <a:pt x="2555855" y="228600"/>
                </a:lnTo>
                <a:lnTo>
                  <a:pt x="2520484" y="203200"/>
                </a:lnTo>
                <a:lnTo>
                  <a:pt x="2483301" y="177800"/>
                </a:lnTo>
                <a:lnTo>
                  <a:pt x="2444202" y="152400"/>
                </a:lnTo>
                <a:lnTo>
                  <a:pt x="2403079" y="127000"/>
                </a:lnTo>
                <a:lnTo>
                  <a:pt x="2359826" y="101600"/>
                </a:lnTo>
                <a:lnTo>
                  <a:pt x="2314337" y="76200"/>
                </a:lnTo>
                <a:lnTo>
                  <a:pt x="2266506" y="63500"/>
                </a:lnTo>
                <a:lnTo>
                  <a:pt x="2216226" y="38100"/>
                </a:lnTo>
                <a:lnTo>
                  <a:pt x="2163392" y="25400"/>
                </a:lnTo>
                <a:lnTo>
                  <a:pt x="2107896" y="12700"/>
                </a:lnTo>
                <a:close/>
              </a:path>
              <a:path w="4791075" h="3244215">
                <a:moveTo>
                  <a:pt x="4574718" y="12700"/>
                </a:moveTo>
                <a:lnTo>
                  <a:pt x="4207690" y="12700"/>
                </a:lnTo>
                <a:lnTo>
                  <a:pt x="4152199" y="25400"/>
                </a:lnTo>
                <a:lnTo>
                  <a:pt x="4099370" y="38100"/>
                </a:lnTo>
                <a:lnTo>
                  <a:pt x="4049098" y="63500"/>
                </a:lnTo>
                <a:lnTo>
                  <a:pt x="4001276" y="76200"/>
                </a:lnTo>
                <a:lnTo>
                  <a:pt x="3955800" y="101600"/>
                </a:lnTo>
                <a:lnTo>
                  <a:pt x="3912563" y="127000"/>
                </a:lnTo>
                <a:lnTo>
                  <a:pt x="3871460" y="152400"/>
                </a:lnTo>
                <a:lnTo>
                  <a:pt x="3832383" y="177800"/>
                </a:lnTo>
                <a:lnTo>
                  <a:pt x="3795228" y="203200"/>
                </a:lnTo>
                <a:lnTo>
                  <a:pt x="3759889" y="228600"/>
                </a:lnTo>
                <a:lnTo>
                  <a:pt x="3726259" y="266700"/>
                </a:lnTo>
                <a:lnTo>
                  <a:pt x="3694233" y="292100"/>
                </a:lnTo>
                <a:lnTo>
                  <a:pt x="3663704" y="317500"/>
                </a:lnTo>
                <a:lnTo>
                  <a:pt x="3634568" y="355600"/>
                </a:lnTo>
                <a:lnTo>
                  <a:pt x="3606717" y="381000"/>
                </a:lnTo>
                <a:lnTo>
                  <a:pt x="3580047" y="406400"/>
                </a:lnTo>
                <a:lnTo>
                  <a:pt x="3554451" y="444500"/>
                </a:lnTo>
                <a:lnTo>
                  <a:pt x="3529823" y="469900"/>
                </a:lnTo>
                <a:lnTo>
                  <a:pt x="3482515" y="520700"/>
                </a:lnTo>
                <a:lnTo>
                  <a:pt x="3439968" y="571500"/>
                </a:lnTo>
                <a:lnTo>
                  <a:pt x="3400778" y="609600"/>
                </a:lnTo>
                <a:lnTo>
                  <a:pt x="3363538" y="635000"/>
                </a:lnTo>
                <a:lnTo>
                  <a:pt x="3326845" y="673100"/>
                </a:lnTo>
                <a:lnTo>
                  <a:pt x="3289295" y="685800"/>
                </a:lnTo>
                <a:lnTo>
                  <a:pt x="3249481" y="698500"/>
                </a:lnTo>
                <a:lnTo>
                  <a:pt x="3206000" y="711200"/>
                </a:lnTo>
                <a:lnTo>
                  <a:pt x="3806163" y="711200"/>
                </a:lnTo>
                <a:lnTo>
                  <a:pt x="3866381" y="635000"/>
                </a:lnTo>
                <a:lnTo>
                  <a:pt x="3896857" y="609600"/>
                </a:lnTo>
                <a:lnTo>
                  <a:pt x="3927954" y="571500"/>
                </a:lnTo>
                <a:lnTo>
                  <a:pt x="3959950" y="546100"/>
                </a:lnTo>
                <a:lnTo>
                  <a:pt x="3993128" y="508000"/>
                </a:lnTo>
                <a:lnTo>
                  <a:pt x="4027767" y="482600"/>
                </a:lnTo>
                <a:lnTo>
                  <a:pt x="4064149" y="457200"/>
                </a:lnTo>
                <a:lnTo>
                  <a:pt x="4102554" y="431800"/>
                </a:lnTo>
                <a:lnTo>
                  <a:pt x="4143264" y="419100"/>
                </a:lnTo>
                <a:lnTo>
                  <a:pt x="4186558" y="406400"/>
                </a:lnTo>
                <a:lnTo>
                  <a:pt x="4232718" y="381000"/>
                </a:lnTo>
                <a:lnTo>
                  <a:pt x="4282025" y="381000"/>
                </a:lnTo>
                <a:lnTo>
                  <a:pt x="4334759" y="368300"/>
                </a:lnTo>
                <a:lnTo>
                  <a:pt x="4790792" y="368300"/>
                </a:lnTo>
                <a:lnTo>
                  <a:pt x="4790792" y="88900"/>
                </a:lnTo>
                <a:lnTo>
                  <a:pt x="4781160" y="76200"/>
                </a:lnTo>
                <a:lnTo>
                  <a:pt x="4733329" y="63500"/>
                </a:lnTo>
                <a:lnTo>
                  <a:pt x="4683049" y="38100"/>
                </a:lnTo>
                <a:lnTo>
                  <a:pt x="4630214" y="25400"/>
                </a:lnTo>
                <a:lnTo>
                  <a:pt x="4574718" y="12700"/>
                </a:lnTo>
                <a:close/>
              </a:path>
              <a:path w="4791075" h="3244215">
                <a:moveTo>
                  <a:pt x="4790792" y="368300"/>
                </a:moveTo>
                <a:lnTo>
                  <a:pt x="4447647" y="368300"/>
                </a:lnTo>
                <a:lnTo>
                  <a:pt x="4500385" y="381000"/>
                </a:lnTo>
                <a:lnTo>
                  <a:pt x="4549695" y="381000"/>
                </a:lnTo>
                <a:lnTo>
                  <a:pt x="4595858" y="406400"/>
                </a:lnTo>
                <a:lnTo>
                  <a:pt x="4639155" y="419100"/>
                </a:lnTo>
                <a:lnTo>
                  <a:pt x="4679866" y="431800"/>
                </a:lnTo>
                <a:lnTo>
                  <a:pt x="4718273" y="457200"/>
                </a:lnTo>
                <a:lnTo>
                  <a:pt x="4754655" y="482600"/>
                </a:lnTo>
                <a:lnTo>
                  <a:pt x="4789295" y="508000"/>
                </a:lnTo>
                <a:lnTo>
                  <a:pt x="4790792" y="508000"/>
                </a:lnTo>
                <a:lnTo>
                  <a:pt x="4790792" y="368300"/>
                </a:lnTo>
                <a:close/>
              </a:path>
              <a:path w="4791075" h="3244215">
                <a:moveTo>
                  <a:pt x="1988495" y="0"/>
                </a:moveTo>
                <a:lnTo>
                  <a:pt x="1860263" y="0"/>
                </a:lnTo>
                <a:lnTo>
                  <a:pt x="1799128" y="12700"/>
                </a:lnTo>
                <a:lnTo>
                  <a:pt x="2049632" y="12700"/>
                </a:lnTo>
                <a:lnTo>
                  <a:pt x="1988495" y="0"/>
                </a:lnTo>
                <a:close/>
              </a:path>
              <a:path w="4791075" h="3244215">
                <a:moveTo>
                  <a:pt x="4455318" y="0"/>
                </a:moveTo>
                <a:lnTo>
                  <a:pt x="4327085" y="0"/>
                </a:lnTo>
                <a:lnTo>
                  <a:pt x="4265951" y="12700"/>
                </a:lnTo>
                <a:lnTo>
                  <a:pt x="4516455" y="12700"/>
                </a:lnTo>
                <a:lnTo>
                  <a:pt x="4455318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04153FB4-7F95-554D-A662-CB93AFA993FF}"/>
              </a:ext>
            </a:extLst>
          </p:cNvPr>
          <p:cNvGrpSpPr/>
          <p:nvPr userDrawn="1"/>
        </p:nvGrpSpPr>
        <p:grpSpPr>
          <a:xfrm>
            <a:off x="228086" y="180815"/>
            <a:ext cx="1457074" cy="2415958"/>
            <a:chOff x="304114" y="267874"/>
            <a:chExt cx="1942765" cy="3579197"/>
          </a:xfrm>
        </p:grpSpPr>
        <p:sp>
          <p:nvSpPr>
            <p:cNvPr id="14" name="object 7">
              <a:extLst>
                <a:ext uri="{FF2B5EF4-FFF2-40B4-BE49-F238E27FC236}">
                  <a16:creationId xmlns:a16="http://schemas.microsoft.com/office/drawing/2014/main" id="{5D4B4CE4-EC72-1146-927A-B063D028E872}"/>
                </a:ext>
              </a:extLst>
            </p:cNvPr>
            <p:cNvSpPr/>
            <p:nvPr userDrawn="1"/>
          </p:nvSpPr>
          <p:spPr>
            <a:xfrm>
              <a:off x="1054625" y="2654805"/>
              <a:ext cx="711200" cy="713105"/>
            </a:xfrm>
            <a:custGeom>
              <a:avLst/>
              <a:gdLst/>
              <a:ahLst/>
              <a:cxnLst/>
              <a:rect l="l" t="t" r="r" b="b"/>
              <a:pathLst>
                <a:path w="711200" h="713104">
                  <a:moveTo>
                    <a:pt x="174706" y="0"/>
                  </a:moveTo>
                  <a:lnTo>
                    <a:pt x="127846" y="0"/>
                  </a:lnTo>
                  <a:lnTo>
                    <a:pt x="82770" y="14346"/>
                  </a:lnTo>
                  <a:lnTo>
                    <a:pt x="43040" y="43040"/>
                  </a:lnTo>
                  <a:lnTo>
                    <a:pt x="14346" y="82768"/>
                  </a:lnTo>
                  <a:lnTo>
                    <a:pt x="0" y="127842"/>
                  </a:lnTo>
                  <a:lnTo>
                    <a:pt x="0" y="174697"/>
                  </a:lnTo>
                  <a:lnTo>
                    <a:pt x="14346" y="219771"/>
                  </a:lnTo>
                  <a:lnTo>
                    <a:pt x="43040" y="259499"/>
                  </a:lnTo>
                  <a:lnTo>
                    <a:pt x="451447" y="667906"/>
                  </a:lnTo>
                  <a:lnTo>
                    <a:pt x="502075" y="701527"/>
                  </a:lnTo>
                  <a:lnTo>
                    <a:pt x="559676" y="712737"/>
                  </a:lnTo>
                  <a:lnTo>
                    <a:pt x="588914" y="709934"/>
                  </a:lnTo>
                  <a:lnTo>
                    <a:pt x="643898" y="687517"/>
                  </a:lnTo>
                  <a:lnTo>
                    <a:pt x="696600" y="628176"/>
                  </a:lnTo>
                  <a:lnTo>
                    <a:pt x="710947" y="583100"/>
                  </a:lnTo>
                  <a:lnTo>
                    <a:pt x="710947" y="536240"/>
                  </a:lnTo>
                  <a:lnTo>
                    <a:pt x="696600" y="491164"/>
                  </a:lnTo>
                  <a:lnTo>
                    <a:pt x="667906" y="451434"/>
                  </a:lnTo>
                  <a:lnTo>
                    <a:pt x="259512" y="43040"/>
                  </a:lnTo>
                  <a:lnTo>
                    <a:pt x="219782" y="14346"/>
                  </a:lnTo>
                  <a:lnTo>
                    <a:pt x="174706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5" name="object 8">
              <a:extLst>
                <a:ext uri="{FF2B5EF4-FFF2-40B4-BE49-F238E27FC236}">
                  <a16:creationId xmlns:a16="http://schemas.microsoft.com/office/drawing/2014/main" id="{9CFDF2E9-55D5-2E4D-BE6D-607C7EBFCF0A}"/>
                </a:ext>
              </a:extLst>
            </p:cNvPr>
            <p:cNvSpPr/>
            <p:nvPr userDrawn="1"/>
          </p:nvSpPr>
          <p:spPr>
            <a:xfrm>
              <a:off x="1054646" y="748974"/>
              <a:ext cx="711200" cy="713105"/>
            </a:xfrm>
            <a:custGeom>
              <a:avLst/>
              <a:gdLst/>
              <a:ahLst/>
              <a:cxnLst/>
              <a:rect l="l" t="t" r="r" b="b"/>
              <a:pathLst>
                <a:path w="711200" h="713105">
                  <a:moveTo>
                    <a:pt x="583087" y="0"/>
                  </a:moveTo>
                  <a:lnTo>
                    <a:pt x="536228" y="0"/>
                  </a:lnTo>
                  <a:lnTo>
                    <a:pt x="491151" y="14346"/>
                  </a:lnTo>
                  <a:lnTo>
                    <a:pt x="451422" y="43040"/>
                  </a:lnTo>
                  <a:lnTo>
                    <a:pt x="43040" y="451434"/>
                  </a:lnTo>
                  <a:lnTo>
                    <a:pt x="14346" y="491165"/>
                  </a:lnTo>
                  <a:lnTo>
                    <a:pt x="0" y="536244"/>
                  </a:lnTo>
                  <a:lnTo>
                    <a:pt x="0" y="583105"/>
                  </a:lnTo>
                  <a:lnTo>
                    <a:pt x="14346" y="628181"/>
                  </a:lnTo>
                  <a:lnTo>
                    <a:pt x="43040" y="667906"/>
                  </a:lnTo>
                  <a:lnTo>
                    <a:pt x="93669" y="701527"/>
                  </a:lnTo>
                  <a:lnTo>
                    <a:pt x="151270" y="712737"/>
                  </a:lnTo>
                  <a:lnTo>
                    <a:pt x="180507" y="709934"/>
                  </a:lnTo>
                  <a:lnTo>
                    <a:pt x="235491" y="687517"/>
                  </a:lnTo>
                  <a:lnTo>
                    <a:pt x="667893" y="259499"/>
                  </a:lnTo>
                  <a:lnTo>
                    <a:pt x="696587" y="219770"/>
                  </a:lnTo>
                  <a:lnTo>
                    <a:pt x="710934" y="174694"/>
                  </a:lnTo>
                  <a:lnTo>
                    <a:pt x="710934" y="127836"/>
                  </a:lnTo>
                  <a:lnTo>
                    <a:pt x="696587" y="82763"/>
                  </a:lnTo>
                  <a:lnTo>
                    <a:pt x="667893" y="43040"/>
                  </a:lnTo>
                  <a:lnTo>
                    <a:pt x="628164" y="14346"/>
                  </a:lnTo>
                  <a:lnTo>
                    <a:pt x="583087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7" name="object 9">
              <a:extLst>
                <a:ext uri="{FF2B5EF4-FFF2-40B4-BE49-F238E27FC236}">
                  <a16:creationId xmlns:a16="http://schemas.microsoft.com/office/drawing/2014/main" id="{29DDF08C-A638-1946-B0C0-1E2191E97F55}"/>
                </a:ext>
              </a:extLst>
            </p:cNvPr>
            <p:cNvSpPr/>
            <p:nvPr userDrawn="1"/>
          </p:nvSpPr>
          <p:spPr>
            <a:xfrm>
              <a:off x="304114" y="2963152"/>
              <a:ext cx="306705" cy="883919"/>
            </a:xfrm>
            <a:custGeom>
              <a:avLst/>
              <a:gdLst/>
              <a:ahLst/>
              <a:cxnLst/>
              <a:rect l="l" t="t" r="r" b="b"/>
              <a:pathLst>
                <a:path w="306705" h="883920">
                  <a:moveTo>
                    <a:pt x="153073" y="0"/>
                  </a:moveTo>
                  <a:lnTo>
                    <a:pt x="104688" y="7803"/>
                  </a:lnTo>
                  <a:lnTo>
                    <a:pt x="62668" y="29533"/>
                  </a:lnTo>
                  <a:lnTo>
                    <a:pt x="29533" y="62668"/>
                  </a:lnTo>
                  <a:lnTo>
                    <a:pt x="7803" y="104688"/>
                  </a:lnTo>
                  <a:lnTo>
                    <a:pt x="0" y="153073"/>
                  </a:lnTo>
                  <a:lnTo>
                    <a:pt x="12" y="730580"/>
                  </a:lnTo>
                  <a:lnTo>
                    <a:pt x="7817" y="778964"/>
                  </a:lnTo>
                  <a:lnTo>
                    <a:pt x="29549" y="820984"/>
                  </a:lnTo>
                  <a:lnTo>
                    <a:pt x="62686" y="854120"/>
                  </a:lnTo>
                  <a:lnTo>
                    <a:pt x="104706" y="875849"/>
                  </a:lnTo>
                  <a:lnTo>
                    <a:pt x="153085" y="883653"/>
                  </a:lnTo>
                  <a:lnTo>
                    <a:pt x="201470" y="875849"/>
                  </a:lnTo>
                  <a:lnTo>
                    <a:pt x="243490" y="854120"/>
                  </a:lnTo>
                  <a:lnTo>
                    <a:pt x="276625" y="820984"/>
                  </a:lnTo>
                  <a:lnTo>
                    <a:pt x="298355" y="778964"/>
                  </a:lnTo>
                  <a:lnTo>
                    <a:pt x="306158" y="730580"/>
                  </a:lnTo>
                  <a:lnTo>
                    <a:pt x="306146" y="153073"/>
                  </a:lnTo>
                  <a:lnTo>
                    <a:pt x="298341" y="104683"/>
                  </a:lnTo>
                  <a:lnTo>
                    <a:pt x="276609" y="62662"/>
                  </a:lnTo>
                  <a:lnTo>
                    <a:pt x="243472" y="29529"/>
                  </a:lnTo>
                  <a:lnTo>
                    <a:pt x="201452" y="7802"/>
                  </a:lnTo>
                  <a:lnTo>
                    <a:pt x="153073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A19BE1D9-34DB-3645-9DDF-2DA3E67EC7C3}"/>
                </a:ext>
              </a:extLst>
            </p:cNvPr>
            <p:cNvSpPr/>
            <p:nvPr userDrawn="1"/>
          </p:nvSpPr>
          <p:spPr>
            <a:xfrm>
              <a:off x="304114" y="267874"/>
              <a:ext cx="306705" cy="883919"/>
            </a:xfrm>
            <a:custGeom>
              <a:avLst/>
              <a:gdLst/>
              <a:ahLst/>
              <a:cxnLst/>
              <a:rect l="l" t="t" r="r" b="b"/>
              <a:pathLst>
                <a:path w="306705" h="883919">
                  <a:moveTo>
                    <a:pt x="153073" y="0"/>
                  </a:moveTo>
                  <a:lnTo>
                    <a:pt x="104688" y="7803"/>
                  </a:lnTo>
                  <a:lnTo>
                    <a:pt x="62668" y="29533"/>
                  </a:lnTo>
                  <a:lnTo>
                    <a:pt x="29533" y="62668"/>
                  </a:lnTo>
                  <a:lnTo>
                    <a:pt x="7803" y="104688"/>
                  </a:lnTo>
                  <a:lnTo>
                    <a:pt x="0" y="153073"/>
                  </a:lnTo>
                  <a:lnTo>
                    <a:pt x="12" y="730618"/>
                  </a:lnTo>
                  <a:lnTo>
                    <a:pt x="7817" y="779002"/>
                  </a:lnTo>
                  <a:lnTo>
                    <a:pt x="29549" y="821022"/>
                  </a:lnTo>
                  <a:lnTo>
                    <a:pt x="62686" y="854158"/>
                  </a:lnTo>
                  <a:lnTo>
                    <a:pt x="104706" y="875888"/>
                  </a:lnTo>
                  <a:lnTo>
                    <a:pt x="153085" y="883691"/>
                  </a:lnTo>
                  <a:lnTo>
                    <a:pt x="201470" y="875888"/>
                  </a:lnTo>
                  <a:lnTo>
                    <a:pt x="243490" y="854158"/>
                  </a:lnTo>
                  <a:lnTo>
                    <a:pt x="276625" y="821022"/>
                  </a:lnTo>
                  <a:lnTo>
                    <a:pt x="298355" y="779002"/>
                  </a:lnTo>
                  <a:lnTo>
                    <a:pt x="306158" y="730618"/>
                  </a:lnTo>
                  <a:lnTo>
                    <a:pt x="306146" y="153073"/>
                  </a:lnTo>
                  <a:lnTo>
                    <a:pt x="298341" y="104683"/>
                  </a:lnTo>
                  <a:lnTo>
                    <a:pt x="276609" y="62662"/>
                  </a:lnTo>
                  <a:lnTo>
                    <a:pt x="243472" y="29529"/>
                  </a:lnTo>
                  <a:lnTo>
                    <a:pt x="201452" y="7802"/>
                  </a:lnTo>
                  <a:lnTo>
                    <a:pt x="153073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1B7A0655-8B4F-A14C-A3E7-A1742B7A1C56}"/>
                </a:ext>
              </a:extLst>
            </p:cNvPr>
            <p:cNvSpPr/>
            <p:nvPr userDrawn="1"/>
          </p:nvSpPr>
          <p:spPr>
            <a:xfrm>
              <a:off x="1362960" y="1904258"/>
              <a:ext cx="883919" cy="306705"/>
            </a:xfrm>
            <a:custGeom>
              <a:avLst/>
              <a:gdLst/>
              <a:ahLst/>
              <a:cxnLst/>
              <a:rect l="l" t="t" r="r" b="b"/>
              <a:pathLst>
                <a:path w="883919" h="306705">
                  <a:moveTo>
                    <a:pt x="730592" y="0"/>
                  </a:moveTo>
                  <a:lnTo>
                    <a:pt x="153060" y="0"/>
                  </a:lnTo>
                  <a:lnTo>
                    <a:pt x="104682" y="7803"/>
                  </a:lnTo>
                  <a:lnTo>
                    <a:pt x="62665" y="29532"/>
                  </a:lnTo>
                  <a:lnTo>
                    <a:pt x="29532" y="62665"/>
                  </a:lnTo>
                  <a:lnTo>
                    <a:pt x="7803" y="104682"/>
                  </a:lnTo>
                  <a:lnTo>
                    <a:pt x="0" y="153060"/>
                  </a:lnTo>
                  <a:lnTo>
                    <a:pt x="7803" y="201444"/>
                  </a:lnTo>
                  <a:lnTo>
                    <a:pt x="29532" y="243465"/>
                  </a:lnTo>
                  <a:lnTo>
                    <a:pt x="62665" y="276600"/>
                  </a:lnTo>
                  <a:lnTo>
                    <a:pt x="104682" y="298330"/>
                  </a:lnTo>
                  <a:lnTo>
                    <a:pt x="153060" y="306133"/>
                  </a:lnTo>
                  <a:lnTo>
                    <a:pt x="730592" y="306133"/>
                  </a:lnTo>
                  <a:lnTo>
                    <a:pt x="778972" y="298330"/>
                  </a:lnTo>
                  <a:lnTo>
                    <a:pt x="820992" y="276600"/>
                  </a:lnTo>
                  <a:lnTo>
                    <a:pt x="854129" y="243465"/>
                  </a:lnTo>
                  <a:lnTo>
                    <a:pt x="875861" y="201444"/>
                  </a:lnTo>
                  <a:lnTo>
                    <a:pt x="883666" y="153060"/>
                  </a:lnTo>
                  <a:lnTo>
                    <a:pt x="875861" y="104682"/>
                  </a:lnTo>
                  <a:lnTo>
                    <a:pt x="854129" y="62665"/>
                  </a:lnTo>
                  <a:lnTo>
                    <a:pt x="820992" y="29532"/>
                  </a:lnTo>
                  <a:lnTo>
                    <a:pt x="778972" y="7803"/>
                  </a:lnTo>
                  <a:lnTo>
                    <a:pt x="730592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</p:grpSp>
      <p:sp>
        <p:nvSpPr>
          <p:cNvPr id="24" name="Titre 6">
            <a:extLst>
              <a:ext uri="{FF2B5EF4-FFF2-40B4-BE49-F238E27FC236}">
                <a16:creationId xmlns:a16="http://schemas.microsoft.com/office/drawing/2014/main" id="{51DBFC87-6EFB-E449-AAA2-BD35CF82D0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761" y="3171825"/>
            <a:ext cx="8467538" cy="1558119"/>
          </a:xfrm>
        </p:spPr>
        <p:txBody>
          <a:bodyPr/>
          <a:lstStyle>
            <a:lvl1pPr>
              <a:defRPr lang="fr-FR" sz="3375" b="1" smtClean="0">
                <a:effectLst/>
              </a:defRPr>
            </a:lvl1pPr>
          </a:lstStyle>
          <a:p>
            <a:r>
              <a:rPr lang="fr-FR"/>
              <a:t>Modifiez le style du titre</a:t>
            </a:r>
            <a:br>
              <a:rPr lang="fr-FR"/>
            </a:br>
            <a:r>
              <a:rPr lang="fr-FR" b="1">
                <a:effectLst/>
                <a:latin typeface="Baloo 2" pitchFamily="2" charset="77"/>
              </a:rPr>
              <a:t>sur 3 lignes maximum</a:t>
            </a:r>
            <a:br>
              <a:rPr lang="fr-FR">
                <a:effectLst/>
                <a:latin typeface="Baloo 2" pitchFamily="2" charset="77"/>
              </a:rPr>
            </a:br>
            <a:r>
              <a:rPr lang="fr-FR" b="1">
                <a:effectLst/>
                <a:latin typeface="Baloo 2" pitchFamily="2" charset="77"/>
              </a:rPr>
              <a:t>Typo : </a:t>
            </a:r>
            <a:r>
              <a:rPr lang="fr-FR" b="1" err="1">
                <a:effectLst/>
                <a:latin typeface="Baloo 2" pitchFamily="2" charset="77"/>
              </a:rPr>
              <a:t>Baloo</a:t>
            </a:r>
            <a:r>
              <a:rPr lang="fr-FR" b="1">
                <a:effectLst/>
                <a:latin typeface="Baloo 2" pitchFamily="2" charset="77"/>
              </a:rPr>
              <a:t> Bold / Corps 50 pt</a:t>
            </a:r>
            <a:endParaRPr lang="fr-FR"/>
          </a:p>
        </p:txBody>
      </p:sp>
      <p:sp>
        <p:nvSpPr>
          <p:cNvPr id="39" name="Espace réservé du texte 37">
            <a:extLst>
              <a:ext uri="{FF2B5EF4-FFF2-40B4-BE49-F238E27FC236}">
                <a16:creationId xmlns:a16="http://schemas.microsoft.com/office/drawing/2014/main" id="{75FCBCD7-8960-AF4E-BC8D-08B20797F6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0998" y="2246101"/>
            <a:ext cx="5372100" cy="560923"/>
          </a:xfrm>
        </p:spPr>
        <p:txBody>
          <a:bodyPr/>
          <a:lstStyle>
            <a:lvl1pPr>
              <a:defRPr sz="1823" b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823" b="1">
                <a:latin typeface="Montserrat" pitchFamily="2" charset="77"/>
              </a:defRPr>
            </a:lvl2pPr>
            <a:lvl3pPr>
              <a:defRPr sz="1823" b="1">
                <a:latin typeface="Montserrat" pitchFamily="2" charset="77"/>
              </a:defRPr>
            </a:lvl3pPr>
            <a:lvl4pPr>
              <a:defRPr sz="1823" b="1">
                <a:latin typeface="Montserrat" pitchFamily="2" charset="77"/>
              </a:defRPr>
            </a:lvl4pPr>
            <a:lvl5pPr>
              <a:defRPr sz="1823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du masque sur 2 lignes maximum</a:t>
            </a:r>
          </a:p>
        </p:txBody>
      </p:sp>
      <p:pic>
        <p:nvPicPr>
          <p:cNvPr id="40" name="object 8">
            <a:extLst>
              <a:ext uri="{FF2B5EF4-FFF2-40B4-BE49-F238E27FC236}">
                <a16:creationId xmlns:a16="http://schemas.microsoft.com/office/drawing/2014/main" id="{4452801B-5AC5-4648-81D0-C75112EBD50C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10998" y="1072352"/>
            <a:ext cx="3002117" cy="659293"/>
          </a:xfrm>
          <a:prstGeom prst="rect">
            <a:avLst/>
          </a:prstGeom>
        </p:spPr>
      </p:pic>
      <p:sp>
        <p:nvSpPr>
          <p:cNvPr id="46" name="Espace réservé pour une image  45">
            <a:extLst>
              <a:ext uri="{FF2B5EF4-FFF2-40B4-BE49-F238E27FC236}">
                <a16:creationId xmlns:a16="http://schemas.microsoft.com/office/drawing/2014/main" id="{061CB24D-21B8-5D46-83F8-375DDCFD6D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19100" y="4287638"/>
            <a:ext cx="2490447" cy="467629"/>
          </a:xfrm>
          <a:custGeom>
            <a:avLst/>
            <a:gdLst>
              <a:gd name="connsiteX0" fmla="*/ 0 w 3928534"/>
              <a:gd name="connsiteY0" fmla="*/ 51079 h 306467"/>
              <a:gd name="connsiteX1" fmla="*/ 51079 w 3928534"/>
              <a:gd name="connsiteY1" fmla="*/ 0 h 306467"/>
              <a:gd name="connsiteX2" fmla="*/ 3877455 w 3928534"/>
              <a:gd name="connsiteY2" fmla="*/ 0 h 306467"/>
              <a:gd name="connsiteX3" fmla="*/ 3928534 w 3928534"/>
              <a:gd name="connsiteY3" fmla="*/ 51079 h 306467"/>
              <a:gd name="connsiteX4" fmla="*/ 3928534 w 3928534"/>
              <a:gd name="connsiteY4" fmla="*/ 255388 h 306467"/>
              <a:gd name="connsiteX5" fmla="*/ 3877455 w 3928534"/>
              <a:gd name="connsiteY5" fmla="*/ 306467 h 306467"/>
              <a:gd name="connsiteX6" fmla="*/ 51079 w 3928534"/>
              <a:gd name="connsiteY6" fmla="*/ 306467 h 306467"/>
              <a:gd name="connsiteX7" fmla="*/ 0 w 3928534"/>
              <a:gd name="connsiteY7" fmla="*/ 255388 h 306467"/>
              <a:gd name="connsiteX8" fmla="*/ 0 w 3928534"/>
              <a:gd name="connsiteY8" fmla="*/ 51079 h 306467"/>
              <a:gd name="connsiteX0" fmla="*/ 0 w 3928534"/>
              <a:gd name="connsiteY0" fmla="*/ 51079 h 1982867"/>
              <a:gd name="connsiteX1" fmla="*/ 51079 w 3928534"/>
              <a:gd name="connsiteY1" fmla="*/ 0 h 1982867"/>
              <a:gd name="connsiteX2" fmla="*/ 3877455 w 3928534"/>
              <a:gd name="connsiteY2" fmla="*/ 0 h 1982867"/>
              <a:gd name="connsiteX3" fmla="*/ 3928534 w 3928534"/>
              <a:gd name="connsiteY3" fmla="*/ 51079 h 1982867"/>
              <a:gd name="connsiteX4" fmla="*/ 3928534 w 3928534"/>
              <a:gd name="connsiteY4" fmla="*/ 255388 h 1982867"/>
              <a:gd name="connsiteX5" fmla="*/ 3877455 w 3928534"/>
              <a:gd name="connsiteY5" fmla="*/ 306467 h 1982867"/>
              <a:gd name="connsiteX6" fmla="*/ 592946 w 3928534"/>
              <a:gd name="connsiteY6" fmla="*/ 1982867 h 1982867"/>
              <a:gd name="connsiteX7" fmla="*/ 0 w 3928534"/>
              <a:gd name="connsiteY7" fmla="*/ 255388 h 1982867"/>
              <a:gd name="connsiteX8" fmla="*/ 0 w 3928534"/>
              <a:gd name="connsiteY8" fmla="*/ 51079 h 1982867"/>
              <a:gd name="connsiteX0" fmla="*/ 1016000 w 4944534"/>
              <a:gd name="connsiteY0" fmla="*/ 51079 h 1982867"/>
              <a:gd name="connsiteX1" fmla="*/ 1067079 w 4944534"/>
              <a:gd name="connsiteY1" fmla="*/ 0 h 1982867"/>
              <a:gd name="connsiteX2" fmla="*/ 4893455 w 4944534"/>
              <a:gd name="connsiteY2" fmla="*/ 0 h 1982867"/>
              <a:gd name="connsiteX3" fmla="*/ 4944534 w 4944534"/>
              <a:gd name="connsiteY3" fmla="*/ 51079 h 1982867"/>
              <a:gd name="connsiteX4" fmla="*/ 4944534 w 4944534"/>
              <a:gd name="connsiteY4" fmla="*/ 255388 h 1982867"/>
              <a:gd name="connsiteX5" fmla="*/ 4893455 w 4944534"/>
              <a:gd name="connsiteY5" fmla="*/ 306467 h 1982867"/>
              <a:gd name="connsiteX6" fmla="*/ 1608946 w 4944534"/>
              <a:gd name="connsiteY6" fmla="*/ 1982867 h 1982867"/>
              <a:gd name="connsiteX7" fmla="*/ 0 w 4944534"/>
              <a:gd name="connsiteY7" fmla="*/ 864988 h 1982867"/>
              <a:gd name="connsiteX8" fmla="*/ 1016000 w 4944534"/>
              <a:gd name="connsiteY8" fmla="*/ 51079 h 1982867"/>
              <a:gd name="connsiteX0" fmla="*/ 0 w 6028267"/>
              <a:gd name="connsiteY0" fmla="*/ 632 h 2880687"/>
              <a:gd name="connsiteX1" fmla="*/ 2150812 w 6028267"/>
              <a:gd name="connsiteY1" fmla="*/ 897820 h 2880687"/>
              <a:gd name="connsiteX2" fmla="*/ 5977188 w 6028267"/>
              <a:gd name="connsiteY2" fmla="*/ 897820 h 2880687"/>
              <a:gd name="connsiteX3" fmla="*/ 6028267 w 6028267"/>
              <a:gd name="connsiteY3" fmla="*/ 948899 h 2880687"/>
              <a:gd name="connsiteX4" fmla="*/ 6028267 w 6028267"/>
              <a:gd name="connsiteY4" fmla="*/ 1153208 h 2880687"/>
              <a:gd name="connsiteX5" fmla="*/ 5977188 w 6028267"/>
              <a:gd name="connsiteY5" fmla="*/ 1204287 h 2880687"/>
              <a:gd name="connsiteX6" fmla="*/ 2692679 w 6028267"/>
              <a:gd name="connsiteY6" fmla="*/ 2880687 h 2880687"/>
              <a:gd name="connsiteX7" fmla="*/ 1083733 w 6028267"/>
              <a:gd name="connsiteY7" fmla="*/ 1762808 h 2880687"/>
              <a:gd name="connsiteX8" fmla="*/ 0 w 6028267"/>
              <a:gd name="connsiteY8" fmla="*/ 632 h 2880687"/>
              <a:gd name="connsiteX0" fmla="*/ 423036 w 6451303"/>
              <a:gd name="connsiteY0" fmla="*/ 632 h 2880687"/>
              <a:gd name="connsiteX1" fmla="*/ 2573848 w 6451303"/>
              <a:gd name="connsiteY1" fmla="*/ 897820 h 2880687"/>
              <a:gd name="connsiteX2" fmla="*/ 6400224 w 6451303"/>
              <a:gd name="connsiteY2" fmla="*/ 897820 h 2880687"/>
              <a:gd name="connsiteX3" fmla="*/ 6451303 w 6451303"/>
              <a:gd name="connsiteY3" fmla="*/ 948899 h 2880687"/>
              <a:gd name="connsiteX4" fmla="*/ 6451303 w 6451303"/>
              <a:gd name="connsiteY4" fmla="*/ 1153208 h 2880687"/>
              <a:gd name="connsiteX5" fmla="*/ 6400224 w 6451303"/>
              <a:gd name="connsiteY5" fmla="*/ 1204287 h 2880687"/>
              <a:gd name="connsiteX6" fmla="*/ 3115715 w 6451303"/>
              <a:gd name="connsiteY6" fmla="*/ 2880687 h 2880687"/>
              <a:gd name="connsiteX7" fmla="*/ 1506769 w 6451303"/>
              <a:gd name="connsiteY7" fmla="*/ 1762808 h 2880687"/>
              <a:gd name="connsiteX8" fmla="*/ 423036 w 6451303"/>
              <a:gd name="connsiteY8" fmla="*/ 632 h 2880687"/>
              <a:gd name="connsiteX0" fmla="*/ 1688881 w 7717148"/>
              <a:gd name="connsiteY0" fmla="*/ 632 h 3710821"/>
              <a:gd name="connsiteX1" fmla="*/ 3839693 w 7717148"/>
              <a:gd name="connsiteY1" fmla="*/ 897820 h 3710821"/>
              <a:gd name="connsiteX2" fmla="*/ 7666069 w 7717148"/>
              <a:gd name="connsiteY2" fmla="*/ 897820 h 3710821"/>
              <a:gd name="connsiteX3" fmla="*/ 7717148 w 7717148"/>
              <a:gd name="connsiteY3" fmla="*/ 948899 h 3710821"/>
              <a:gd name="connsiteX4" fmla="*/ 7717148 w 7717148"/>
              <a:gd name="connsiteY4" fmla="*/ 1153208 h 3710821"/>
              <a:gd name="connsiteX5" fmla="*/ 7666069 w 7717148"/>
              <a:gd name="connsiteY5" fmla="*/ 1204287 h 3710821"/>
              <a:gd name="connsiteX6" fmla="*/ 4381560 w 7717148"/>
              <a:gd name="connsiteY6" fmla="*/ 2880687 h 3710821"/>
              <a:gd name="connsiteX7" fmla="*/ 97147 w 7717148"/>
              <a:gd name="connsiteY7" fmla="*/ 3710141 h 3710821"/>
              <a:gd name="connsiteX8" fmla="*/ 1688881 w 7717148"/>
              <a:gd name="connsiteY8" fmla="*/ 632 h 3710821"/>
              <a:gd name="connsiteX0" fmla="*/ 1688881 w 7717148"/>
              <a:gd name="connsiteY0" fmla="*/ 632 h 3778154"/>
              <a:gd name="connsiteX1" fmla="*/ 3839693 w 7717148"/>
              <a:gd name="connsiteY1" fmla="*/ 897820 h 3778154"/>
              <a:gd name="connsiteX2" fmla="*/ 7666069 w 7717148"/>
              <a:gd name="connsiteY2" fmla="*/ 897820 h 3778154"/>
              <a:gd name="connsiteX3" fmla="*/ 7717148 w 7717148"/>
              <a:gd name="connsiteY3" fmla="*/ 948899 h 3778154"/>
              <a:gd name="connsiteX4" fmla="*/ 7717148 w 7717148"/>
              <a:gd name="connsiteY4" fmla="*/ 1153208 h 3778154"/>
              <a:gd name="connsiteX5" fmla="*/ 7666069 w 7717148"/>
              <a:gd name="connsiteY5" fmla="*/ 1204287 h 3778154"/>
              <a:gd name="connsiteX6" fmla="*/ 2925293 w 7717148"/>
              <a:gd name="connsiteY6" fmla="*/ 3778154 h 3778154"/>
              <a:gd name="connsiteX7" fmla="*/ 97147 w 7717148"/>
              <a:gd name="connsiteY7" fmla="*/ 3710141 h 3778154"/>
              <a:gd name="connsiteX8" fmla="*/ 1688881 w 7717148"/>
              <a:gd name="connsiteY8" fmla="*/ 632 h 3778154"/>
              <a:gd name="connsiteX0" fmla="*/ 1688881 w 7717148"/>
              <a:gd name="connsiteY0" fmla="*/ 632 h 3828954"/>
              <a:gd name="connsiteX1" fmla="*/ 3839693 w 7717148"/>
              <a:gd name="connsiteY1" fmla="*/ 897820 h 3828954"/>
              <a:gd name="connsiteX2" fmla="*/ 7666069 w 7717148"/>
              <a:gd name="connsiteY2" fmla="*/ 897820 h 3828954"/>
              <a:gd name="connsiteX3" fmla="*/ 7717148 w 7717148"/>
              <a:gd name="connsiteY3" fmla="*/ 948899 h 3828954"/>
              <a:gd name="connsiteX4" fmla="*/ 7717148 w 7717148"/>
              <a:gd name="connsiteY4" fmla="*/ 1153208 h 3828954"/>
              <a:gd name="connsiteX5" fmla="*/ 4414869 w 7717148"/>
              <a:gd name="connsiteY5" fmla="*/ 3828954 h 3828954"/>
              <a:gd name="connsiteX6" fmla="*/ 2925293 w 7717148"/>
              <a:gd name="connsiteY6" fmla="*/ 3778154 h 3828954"/>
              <a:gd name="connsiteX7" fmla="*/ 97147 w 7717148"/>
              <a:gd name="connsiteY7" fmla="*/ 3710141 h 3828954"/>
              <a:gd name="connsiteX8" fmla="*/ 1688881 w 7717148"/>
              <a:gd name="connsiteY8" fmla="*/ 632 h 3828954"/>
              <a:gd name="connsiteX0" fmla="*/ 1688881 w 7717148"/>
              <a:gd name="connsiteY0" fmla="*/ 632 h 3828954"/>
              <a:gd name="connsiteX1" fmla="*/ 3839693 w 7717148"/>
              <a:gd name="connsiteY1" fmla="*/ 897820 h 3828954"/>
              <a:gd name="connsiteX2" fmla="*/ 7666069 w 7717148"/>
              <a:gd name="connsiteY2" fmla="*/ 897820 h 3828954"/>
              <a:gd name="connsiteX3" fmla="*/ 7717148 w 7717148"/>
              <a:gd name="connsiteY3" fmla="*/ 948899 h 3828954"/>
              <a:gd name="connsiteX4" fmla="*/ 7717148 w 7717148"/>
              <a:gd name="connsiteY4" fmla="*/ 1153208 h 3828954"/>
              <a:gd name="connsiteX5" fmla="*/ 4414869 w 7717148"/>
              <a:gd name="connsiteY5" fmla="*/ 3828954 h 3828954"/>
              <a:gd name="connsiteX6" fmla="*/ 1570626 w 7717148"/>
              <a:gd name="connsiteY6" fmla="*/ 3744287 h 3828954"/>
              <a:gd name="connsiteX7" fmla="*/ 97147 w 7717148"/>
              <a:gd name="connsiteY7" fmla="*/ 3710141 h 3828954"/>
              <a:gd name="connsiteX8" fmla="*/ 1688881 w 7717148"/>
              <a:gd name="connsiteY8" fmla="*/ 632 h 3828954"/>
              <a:gd name="connsiteX0" fmla="*/ 1766653 w 7794920"/>
              <a:gd name="connsiteY0" fmla="*/ 632 h 3828954"/>
              <a:gd name="connsiteX1" fmla="*/ 3917465 w 7794920"/>
              <a:gd name="connsiteY1" fmla="*/ 897820 h 3828954"/>
              <a:gd name="connsiteX2" fmla="*/ 7743841 w 7794920"/>
              <a:gd name="connsiteY2" fmla="*/ 897820 h 3828954"/>
              <a:gd name="connsiteX3" fmla="*/ 7794920 w 7794920"/>
              <a:gd name="connsiteY3" fmla="*/ 948899 h 3828954"/>
              <a:gd name="connsiteX4" fmla="*/ 7794920 w 7794920"/>
              <a:gd name="connsiteY4" fmla="*/ 1153208 h 3828954"/>
              <a:gd name="connsiteX5" fmla="*/ 4492641 w 7794920"/>
              <a:gd name="connsiteY5" fmla="*/ 3828954 h 3828954"/>
              <a:gd name="connsiteX6" fmla="*/ 1648398 w 7794920"/>
              <a:gd name="connsiteY6" fmla="*/ 3744287 h 3828954"/>
              <a:gd name="connsiteX7" fmla="*/ 90252 w 7794920"/>
              <a:gd name="connsiteY7" fmla="*/ 3710141 h 3828954"/>
              <a:gd name="connsiteX8" fmla="*/ 1766653 w 7794920"/>
              <a:gd name="connsiteY8" fmla="*/ 632 h 3828954"/>
              <a:gd name="connsiteX0" fmla="*/ 1766653 w 7794920"/>
              <a:gd name="connsiteY0" fmla="*/ 632 h 3744287"/>
              <a:gd name="connsiteX1" fmla="*/ 3917465 w 7794920"/>
              <a:gd name="connsiteY1" fmla="*/ 897820 h 3744287"/>
              <a:gd name="connsiteX2" fmla="*/ 7743841 w 7794920"/>
              <a:gd name="connsiteY2" fmla="*/ 897820 h 3744287"/>
              <a:gd name="connsiteX3" fmla="*/ 7794920 w 7794920"/>
              <a:gd name="connsiteY3" fmla="*/ 948899 h 3744287"/>
              <a:gd name="connsiteX4" fmla="*/ 7794920 w 7794920"/>
              <a:gd name="connsiteY4" fmla="*/ 1153208 h 3744287"/>
              <a:gd name="connsiteX5" fmla="*/ 3121041 w 7794920"/>
              <a:gd name="connsiteY5" fmla="*/ 3744287 h 3744287"/>
              <a:gd name="connsiteX6" fmla="*/ 1648398 w 7794920"/>
              <a:gd name="connsiteY6" fmla="*/ 3744287 h 3744287"/>
              <a:gd name="connsiteX7" fmla="*/ 90252 w 7794920"/>
              <a:gd name="connsiteY7" fmla="*/ 3710141 h 3744287"/>
              <a:gd name="connsiteX8" fmla="*/ 1766653 w 7794920"/>
              <a:gd name="connsiteY8" fmla="*/ 632 h 3744287"/>
              <a:gd name="connsiteX0" fmla="*/ 1766653 w 7794920"/>
              <a:gd name="connsiteY0" fmla="*/ 632 h 3744287"/>
              <a:gd name="connsiteX1" fmla="*/ 3917465 w 7794920"/>
              <a:gd name="connsiteY1" fmla="*/ 897820 h 3744287"/>
              <a:gd name="connsiteX2" fmla="*/ 7743841 w 7794920"/>
              <a:gd name="connsiteY2" fmla="*/ 897820 h 3744287"/>
              <a:gd name="connsiteX3" fmla="*/ 7794920 w 7794920"/>
              <a:gd name="connsiteY3" fmla="*/ 948899 h 3744287"/>
              <a:gd name="connsiteX4" fmla="*/ 6203187 w 7794920"/>
              <a:gd name="connsiteY4" fmla="*/ 2389341 h 3744287"/>
              <a:gd name="connsiteX5" fmla="*/ 3121041 w 7794920"/>
              <a:gd name="connsiteY5" fmla="*/ 3744287 h 3744287"/>
              <a:gd name="connsiteX6" fmla="*/ 1648398 w 7794920"/>
              <a:gd name="connsiteY6" fmla="*/ 3744287 h 3744287"/>
              <a:gd name="connsiteX7" fmla="*/ 90252 w 7794920"/>
              <a:gd name="connsiteY7" fmla="*/ 3710141 h 3744287"/>
              <a:gd name="connsiteX8" fmla="*/ 1766653 w 7794920"/>
              <a:gd name="connsiteY8" fmla="*/ 632 h 3744287"/>
              <a:gd name="connsiteX0" fmla="*/ 1766653 w 7794920"/>
              <a:gd name="connsiteY0" fmla="*/ 2387 h 3746042"/>
              <a:gd name="connsiteX1" fmla="*/ 2088665 w 7794920"/>
              <a:gd name="connsiteY1" fmla="*/ 205308 h 3746042"/>
              <a:gd name="connsiteX2" fmla="*/ 7743841 w 7794920"/>
              <a:gd name="connsiteY2" fmla="*/ 899575 h 3746042"/>
              <a:gd name="connsiteX3" fmla="*/ 7794920 w 7794920"/>
              <a:gd name="connsiteY3" fmla="*/ 950654 h 3746042"/>
              <a:gd name="connsiteX4" fmla="*/ 6203187 w 7794920"/>
              <a:gd name="connsiteY4" fmla="*/ 2391096 h 3746042"/>
              <a:gd name="connsiteX5" fmla="*/ 3121041 w 7794920"/>
              <a:gd name="connsiteY5" fmla="*/ 3746042 h 3746042"/>
              <a:gd name="connsiteX6" fmla="*/ 1648398 w 7794920"/>
              <a:gd name="connsiteY6" fmla="*/ 3746042 h 3746042"/>
              <a:gd name="connsiteX7" fmla="*/ 90252 w 7794920"/>
              <a:gd name="connsiteY7" fmla="*/ 3711896 h 3746042"/>
              <a:gd name="connsiteX8" fmla="*/ 1766653 w 7794920"/>
              <a:gd name="connsiteY8" fmla="*/ 2387 h 3746042"/>
              <a:gd name="connsiteX0" fmla="*/ 1766653 w 7744015"/>
              <a:gd name="connsiteY0" fmla="*/ 2387 h 3746042"/>
              <a:gd name="connsiteX1" fmla="*/ 2088665 w 7744015"/>
              <a:gd name="connsiteY1" fmla="*/ 205308 h 3746042"/>
              <a:gd name="connsiteX2" fmla="*/ 7743841 w 7744015"/>
              <a:gd name="connsiteY2" fmla="*/ 899575 h 3746042"/>
              <a:gd name="connsiteX3" fmla="*/ 4374386 w 7744015"/>
              <a:gd name="connsiteY3" fmla="*/ 2288387 h 3746042"/>
              <a:gd name="connsiteX4" fmla="*/ 6203187 w 7744015"/>
              <a:gd name="connsiteY4" fmla="*/ 2391096 h 3746042"/>
              <a:gd name="connsiteX5" fmla="*/ 3121041 w 7744015"/>
              <a:gd name="connsiteY5" fmla="*/ 3746042 h 3746042"/>
              <a:gd name="connsiteX6" fmla="*/ 1648398 w 7744015"/>
              <a:gd name="connsiteY6" fmla="*/ 3746042 h 3746042"/>
              <a:gd name="connsiteX7" fmla="*/ 90252 w 7744015"/>
              <a:gd name="connsiteY7" fmla="*/ 3711896 h 3746042"/>
              <a:gd name="connsiteX8" fmla="*/ 1766653 w 7744015"/>
              <a:gd name="connsiteY8" fmla="*/ 2387 h 3746042"/>
              <a:gd name="connsiteX0" fmla="*/ 1766653 w 6203187"/>
              <a:gd name="connsiteY0" fmla="*/ 2387 h 3746042"/>
              <a:gd name="connsiteX1" fmla="*/ 2088665 w 6203187"/>
              <a:gd name="connsiteY1" fmla="*/ 205308 h 3746042"/>
              <a:gd name="connsiteX2" fmla="*/ 3459707 w 6203187"/>
              <a:gd name="connsiteY2" fmla="*/ 3033175 h 3746042"/>
              <a:gd name="connsiteX3" fmla="*/ 4374386 w 6203187"/>
              <a:gd name="connsiteY3" fmla="*/ 2288387 h 3746042"/>
              <a:gd name="connsiteX4" fmla="*/ 6203187 w 6203187"/>
              <a:gd name="connsiteY4" fmla="*/ 2391096 h 3746042"/>
              <a:gd name="connsiteX5" fmla="*/ 3121041 w 6203187"/>
              <a:gd name="connsiteY5" fmla="*/ 3746042 h 3746042"/>
              <a:gd name="connsiteX6" fmla="*/ 1648398 w 6203187"/>
              <a:gd name="connsiteY6" fmla="*/ 3746042 h 3746042"/>
              <a:gd name="connsiteX7" fmla="*/ 90252 w 6203187"/>
              <a:gd name="connsiteY7" fmla="*/ 3711896 h 3746042"/>
              <a:gd name="connsiteX8" fmla="*/ 1766653 w 6203187"/>
              <a:gd name="connsiteY8" fmla="*/ 2387 h 3746042"/>
              <a:gd name="connsiteX0" fmla="*/ 1766653 w 6203187"/>
              <a:gd name="connsiteY0" fmla="*/ 2387 h 3746042"/>
              <a:gd name="connsiteX1" fmla="*/ 2088665 w 6203187"/>
              <a:gd name="connsiteY1" fmla="*/ 205308 h 3746042"/>
              <a:gd name="connsiteX2" fmla="*/ 3459707 w 6203187"/>
              <a:gd name="connsiteY2" fmla="*/ 3033175 h 3746042"/>
              <a:gd name="connsiteX3" fmla="*/ 4374386 w 6203187"/>
              <a:gd name="connsiteY3" fmla="*/ 2288387 h 3746042"/>
              <a:gd name="connsiteX4" fmla="*/ 6203187 w 6203187"/>
              <a:gd name="connsiteY4" fmla="*/ 2391096 h 3746042"/>
              <a:gd name="connsiteX5" fmla="*/ 3121041 w 6203187"/>
              <a:gd name="connsiteY5" fmla="*/ 3746042 h 3746042"/>
              <a:gd name="connsiteX6" fmla="*/ 1648398 w 6203187"/>
              <a:gd name="connsiteY6" fmla="*/ 3746042 h 3746042"/>
              <a:gd name="connsiteX7" fmla="*/ 90252 w 6203187"/>
              <a:gd name="connsiteY7" fmla="*/ 3711896 h 3746042"/>
              <a:gd name="connsiteX8" fmla="*/ 1766653 w 6203187"/>
              <a:gd name="connsiteY8" fmla="*/ 2387 h 3746042"/>
              <a:gd name="connsiteX0" fmla="*/ 1766653 w 6203187"/>
              <a:gd name="connsiteY0" fmla="*/ 3378 h 3747033"/>
              <a:gd name="connsiteX1" fmla="*/ 3459707 w 6203187"/>
              <a:gd name="connsiteY1" fmla="*/ 3034166 h 3747033"/>
              <a:gd name="connsiteX2" fmla="*/ 4374386 w 6203187"/>
              <a:gd name="connsiteY2" fmla="*/ 2289378 h 3747033"/>
              <a:gd name="connsiteX3" fmla="*/ 6203187 w 6203187"/>
              <a:gd name="connsiteY3" fmla="*/ 2392087 h 3747033"/>
              <a:gd name="connsiteX4" fmla="*/ 3121041 w 6203187"/>
              <a:gd name="connsiteY4" fmla="*/ 3747033 h 3747033"/>
              <a:gd name="connsiteX5" fmla="*/ 1648398 w 6203187"/>
              <a:gd name="connsiteY5" fmla="*/ 3747033 h 3747033"/>
              <a:gd name="connsiteX6" fmla="*/ 90252 w 6203187"/>
              <a:gd name="connsiteY6" fmla="*/ 3712887 h 3747033"/>
              <a:gd name="connsiteX7" fmla="*/ 1766653 w 6203187"/>
              <a:gd name="connsiteY7" fmla="*/ 3378 h 3747033"/>
              <a:gd name="connsiteX0" fmla="*/ 1766653 w 6203187"/>
              <a:gd name="connsiteY0" fmla="*/ 0 h 3743655"/>
              <a:gd name="connsiteX1" fmla="*/ 3459707 w 6203187"/>
              <a:gd name="connsiteY1" fmla="*/ 3030788 h 3743655"/>
              <a:gd name="connsiteX2" fmla="*/ 4374386 w 6203187"/>
              <a:gd name="connsiteY2" fmla="*/ 2286000 h 3743655"/>
              <a:gd name="connsiteX3" fmla="*/ 6203187 w 6203187"/>
              <a:gd name="connsiteY3" fmla="*/ 2388709 h 3743655"/>
              <a:gd name="connsiteX4" fmla="*/ 3121041 w 6203187"/>
              <a:gd name="connsiteY4" fmla="*/ 3743655 h 3743655"/>
              <a:gd name="connsiteX5" fmla="*/ 1648398 w 6203187"/>
              <a:gd name="connsiteY5" fmla="*/ 3743655 h 3743655"/>
              <a:gd name="connsiteX6" fmla="*/ 90252 w 6203187"/>
              <a:gd name="connsiteY6" fmla="*/ 3709509 h 3743655"/>
              <a:gd name="connsiteX7" fmla="*/ 1766653 w 6203187"/>
              <a:gd name="connsiteY7" fmla="*/ 0 h 3743655"/>
              <a:gd name="connsiteX0" fmla="*/ 1792556 w 6201099"/>
              <a:gd name="connsiteY0" fmla="*/ 0 h 3780978"/>
              <a:gd name="connsiteX1" fmla="*/ 3457619 w 6201099"/>
              <a:gd name="connsiteY1" fmla="*/ 3068111 h 3780978"/>
              <a:gd name="connsiteX2" fmla="*/ 4372298 w 6201099"/>
              <a:gd name="connsiteY2" fmla="*/ 2323323 h 3780978"/>
              <a:gd name="connsiteX3" fmla="*/ 6201099 w 6201099"/>
              <a:gd name="connsiteY3" fmla="*/ 2426032 h 3780978"/>
              <a:gd name="connsiteX4" fmla="*/ 3118953 w 6201099"/>
              <a:gd name="connsiteY4" fmla="*/ 3780978 h 3780978"/>
              <a:gd name="connsiteX5" fmla="*/ 1646310 w 6201099"/>
              <a:gd name="connsiteY5" fmla="*/ 3780978 h 3780978"/>
              <a:gd name="connsiteX6" fmla="*/ 88164 w 6201099"/>
              <a:gd name="connsiteY6" fmla="*/ 3746832 h 3780978"/>
              <a:gd name="connsiteX7" fmla="*/ 1792556 w 6201099"/>
              <a:gd name="connsiteY7" fmla="*/ 0 h 3780978"/>
              <a:gd name="connsiteX0" fmla="*/ 1813041 w 6221584"/>
              <a:gd name="connsiteY0" fmla="*/ 0 h 3780978"/>
              <a:gd name="connsiteX1" fmla="*/ 3478104 w 6221584"/>
              <a:gd name="connsiteY1" fmla="*/ 3068111 h 3780978"/>
              <a:gd name="connsiteX2" fmla="*/ 4392783 w 6221584"/>
              <a:gd name="connsiteY2" fmla="*/ 2323323 h 3780978"/>
              <a:gd name="connsiteX3" fmla="*/ 6221584 w 6221584"/>
              <a:gd name="connsiteY3" fmla="*/ 2426032 h 3780978"/>
              <a:gd name="connsiteX4" fmla="*/ 3139438 w 6221584"/>
              <a:gd name="connsiteY4" fmla="*/ 3780978 h 3780978"/>
              <a:gd name="connsiteX5" fmla="*/ 1666795 w 6221584"/>
              <a:gd name="connsiteY5" fmla="*/ 3780978 h 3780978"/>
              <a:gd name="connsiteX6" fmla="*/ 108649 w 6221584"/>
              <a:gd name="connsiteY6" fmla="*/ 3746832 h 3780978"/>
              <a:gd name="connsiteX7" fmla="*/ 1813041 w 6221584"/>
              <a:gd name="connsiteY7" fmla="*/ 0 h 3780978"/>
              <a:gd name="connsiteX0" fmla="*/ 1813041 w 6222718"/>
              <a:gd name="connsiteY0" fmla="*/ 0 h 3780978"/>
              <a:gd name="connsiteX1" fmla="*/ 3478104 w 6222718"/>
              <a:gd name="connsiteY1" fmla="*/ 3068111 h 3780978"/>
              <a:gd name="connsiteX2" fmla="*/ 6221584 w 6222718"/>
              <a:gd name="connsiteY2" fmla="*/ 2426032 h 3780978"/>
              <a:gd name="connsiteX3" fmla="*/ 3139438 w 6222718"/>
              <a:gd name="connsiteY3" fmla="*/ 3780978 h 3780978"/>
              <a:gd name="connsiteX4" fmla="*/ 1666795 w 6222718"/>
              <a:gd name="connsiteY4" fmla="*/ 3780978 h 3780978"/>
              <a:gd name="connsiteX5" fmla="*/ 108649 w 6222718"/>
              <a:gd name="connsiteY5" fmla="*/ 3746832 h 3780978"/>
              <a:gd name="connsiteX6" fmla="*/ 1813041 w 6222718"/>
              <a:gd name="connsiteY6" fmla="*/ 0 h 3780978"/>
              <a:gd name="connsiteX0" fmla="*/ 1813041 w 3561059"/>
              <a:gd name="connsiteY0" fmla="*/ 0 h 3780978"/>
              <a:gd name="connsiteX1" fmla="*/ 3478104 w 3561059"/>
              <a:gd name="connsiteY1" fmla="*/ 3068111 h 3780978"/>
              <a:gd name="connsiteX2" fmla="*/ 3139438 w 3561059"/>
              <a:gd name="connsiteY2" fmla="*/ 3780978 h 3780978"/>
              <a:gd name="connsiteX3" fmla="*/ 1666795 w 3561059"/>
              <a:gd name="connsiteY3" fmla="*/ 3780978 h 3780978"/>
              <a:gd name="connsiteX4" fmla="*/ 108649 w 3561059"/>
              <a:gd name="connsiteY4" fmla="*/ 3746832 h 3780978"/>
              <a:gd name="connsiteX5" fmla="*/ 1813041 w 3561059"/>
              <a:gd name="connsiteY5" fmla="*/ 0 h 3780978"/>
              <a:gd name="connsiteX0" fmla="*/ 1813041 w 3600274"/>
              <a:gd name="connsiteY0" fmla="*/ 0 h 3780978"/>
              <a:gd name="connsiteX1" fmla="*/ 3524599 w 3600274"/>
              <a:gd name="connsiteY1" fmla="*/ 2587664 h 3780978"/>
              <a:gd name="connsiteX2" fmla="*/ 3139438 w 3600274"/>
              <a:gd name="connsiteY2" fmla="*/ 3780978 h 3780978"/>
              <a:gd name="connsiteX3" fmla="*/ 1666795 w 3600274"/>
              <a:gd name="connsiteY3" fmla="*/ 3780978 h 3780978"/>
              <a:gd name="connsiteX4" fmla="*/ 108649 w 3600274"/>
              <a:gd name="connsiteY4" fmla="*/ 3746832 h 3780978"/>
              <a:gd name="connsiteX5" fmla="*/ 1813041 w 3600274"/>
              <a:gd name="connsiteY5" fmla="*/ 0 h 3780978"/>
              <a:gd name="connsiteX0" fmla="*/ 1813041 w 3139953"/>
              <a:gd name="connsiteY0" fmla="*/ 0 h 3780978"/>
              <a:gd name="connsiteX1" fmla="*/ 3139438 w 3139953"/>
              <a:gd name="connsiteY1" fmla="*/ 3780978 h 3780978"/>
              <a:gd name="connsiteX2" fmla="*/ 1666795 w 3139953"/>
              <a:gd name="connsiteY2" fmla="*/ 3780978 h 3780978"/>
              <a:gd name="connsiteX3" fmla="*/ 108649 w 3139953"/>
              <a:gd name="connsiteY3" fmla="*/ 3746832 h 3780978"/>
              <a:gd name="connsiteX4" fmla="*/ 1813041 w 3139953"/>
              <a:gd name="connsiteY4" fmla="*/ 0 h 3780978"/>
              <a:gd name="connsiteX0" fmla="*/ 1813041 w 3496385"/>
              <a:gd name="connsiteY0" fmla="*/ 0 h 3780978"/>
              <a:gd name="connsiteX1" fmla="*/ 3139438 w 3496385"/>
              <a:gd name="connsiteY1" fmla="*/ 3780978 h 3780978"/>
              <a:gd name="connsiteX2" fmla="*/ 1666795 w 3496385"/>
              <a:gd name="connsiteY2" fmla="*/ 3780978 h 3780978"/>
              <a:gd name="connsiteX3" fmla="*/ 108649 w 3496385"/>
              <a:gd name="connsiteY3" fmla="*/ 3746832 h 3780978"/>
              <a:gd name="connsiteX4" fmla="*/ 1813041 w 3496385"/>
              <a:gd name="connsiteY4" fmla="*/ 0 h 3780978"/>
              <a:gd name="connsiteX0" fmla="*/ 1813041 w 3524470"/>
              <a:gd name="connsiteY0" fmla="*/ 0 h 3780978"/>
              <a:gd name="connsiteX1" fmla="*/ 3139438 w 3524470"/>
              <a:gd name="connsiteY1" fmla="*/ 3780978 h 3780978"/>
              <a:gd name="connsiteX2" fmla="*/ 1666795 w 3524470"/>
              <a:gd name="connsiteY2" fmla="*/ 3780978 h 3780978"/>
              <a:gd name="connsiteX3" fmla="*/ 108649 w 3524470"/>
              <a:gd name="connsiteY3" fmla="*/ 3746832 h 3780978"/>
              <a:gd name="connsiteX4" fmla="*/ 1813041 w 3524470"/>
              <a:gd name="connsiteY4" fmla="*/ 0 h 3780978"/>
              <a:gd name="connsiteX0" fmla="*/ 1362001 w 3073430"/>
              <a:gd name="connsiteY0" fmla="*/ 0 h 3782539"/>
              <a:gd name="connsiteX1" fmla="*/ 2688398 w 3073430"/>
              <a:gd name="connsiteY1" fmla="*/ 3780978 h 3782539"/>
              <a:gd name="connsiteX2" fmla="*/ 1215755 w 3073430"/>
              <a:gd name="connsiteY2" fmla="*/ 3780978 h 3782539"/>
              <a:gd name="connsiteX3" fmla="*/ 200050 w 3073430"/>
              <a:gd name="connsiteY3" fmla="*/ 3762331 h 3782539"/>
              <a:gd name="connsiteX4" fmla="*/ 1362001 w 3073430"/>
              <a:gd name="connsiteY4" fmla="*/ 0 h 3782539"/>
              <a:gd name="connsiteX0" fmla="*/ 1430877 w 3142306"/>
              <a:gd name="connsiteY0" fmla="*/ 0 h 3782539"/>
              <a:gd name="connsiteX1" fmla="*/ 2757274 w 3142306"/>
              <a:gd name="connsiteY1" fmla="*/ 3780978 h 3782539"/>
              <a:gd name="connsiteX2" fmla="*/ 1284631 w 3142306"/>
              <a:gd name="connsiteY2" fmla="*/ 3780978 h 3782539"/>
              <a:gd name="connsiteX3" fmla="*/ 268926 w 3142306"/>
              <a:gd name="connsiteY3" fmla="*/ 3762331 h 3782539"/>
              <a:gd name="connsiteX4" fmla="*/ 1430877 w 3142306"/>
              <a:gd name="connsiteY4" fmla="*/ 0 h 3782539"/>
              <a:gd name="connsiteX0" fmla="*/ 1430877 w 3142306"/>
              <a:gd name="connsiteY0" fmla="*/ 0 h 21304444"/>
              <a:gd name="connsiteX1" fmla="*/ 2757274 w 3142306"/>
              <a:gd name="connsiteY1" fmla="*/ 3780978 h 21304444"/>
              <a:gd name="connsiteX2" fmla="*/ 1207140 w 3142306"/>
              <a:gd name="connsiteY2" fmla="*/ 21304444 h 21304444"/>
              <a:gd name="connsiteX3" fmla="*/ 268926 w 3142306"/>
              <a:gd name="connsiteY3" fmla="*/ 3762331 h 21304444"/>
              <a:gd name="connsiteX4" fmla="*/ 1430877 w 3142306"/>
              <a:gd name="connsiteY4" fmla="*/ 0 h 21304444"/>
              <a:gd name="connsiteX0" fmla="*/ 1430877 w 3634076"/>
              <a:gd name="connsiteY0" fmla="*/ 0 h 21304444"/>
              <a:gd name="connsiteX1" fmla="*/ 3315213 w 3634076"/>
              <a:gd name="connsiteY1" fmla="*/ 20881175 h 21304444"/>
              <a:gd name="connsiteX2" fmla="*/ 1207140 w 3634076"/>
              <a:gd name="connsiteY2" fmla="*/ 21304444 h 21304444"/>
              <a:gd name="connsiteX3" fmla="*/ 268926 w 3634076"/>
              <a:gd name="connsiteY3" fmla="*/ 3762331 h 21304444"/>
              <a:gd name="connsiteX4" fmla="*/ 1430877 w 3634076"/>
              <a:gd name="connsiteY4" fmla="*/ 0 h 21304444"/>
              <a:gd name="connsiteX0" fmla="*/ 1430877 w 3315213"/>
              <a:gd name="connsiteY0" fmla="*/ 0 h 21304444"/>
              <a:gd name="connsiteX1" fmla="*/ 3315213 w 3315213"/>
              <a:gd name="connsiteY1" fmla="*/ 20881175 h 21304444"/>
              <a:gd name="connsiteX2" fmla="*/ 1207140 w 3315213"/>
              <a:gd name="connsiteY2" fmla="*/ 21304444 h 21304444"/>
              <a:gd name="connsiteX3" fmla="*/ 268926 w 3315213"/>
              <a:gd name="connsiteY3" fmla="*/ 3762331 h 21304444"/>
              <a:gd name="connsiteX4" fmla="*/ 1430877 w 3315213"/>
              <a:gd name="connsiteY4" fmla="*/ 0 h 21304444"/>
              <a:gd name="connsiteX0" fmla="*/ 1430877 w 2710779"/>
              <a:gd name="connsiteY0" fmla="*/ 0 h 21304444"/>
              <a:gd name="connsiteX1" fmla="*/ 2710779 w 2710779"/>
              <a:gd name="connsiteY1" fmla="*/ 20881175 h 21304444"/>
              <a:gd name="connsiteX2" fmla="*/ 1207140 w 2710779"/>
              <a:gd name="connsiteY2" fmla="*/ 21304444 h 21304444"/>
              <a:gd name="connsiteX3" fmla="*/ 268926 w 2710779"/>
              <a:gd name="connsiteY3" fmla="*/ 3762331 h 21304444"/>
              <a:gd name="connsiteX4" fmla="*/ 1430877 w 2710779"/>
              <a:gd name="connsiteY4" fmla="*/ 0 h 21304444"/>
              <a:gd name="connsiteX0" fmla="*/ 1430877 w 3000405"/>
              <a:gd name="connsiteY0" fmla="*/ 0 h 21304444"/>
              <a:gd name="connsiteX1" fmla="*/ 2710779 w 3000405"/>
              <a:gd name="connsiteY1" fmla="*/ 20881175 h 21304444"/>
              <a:gd name="connsiteX2" fmla="*/ 1207140 w 3000405"/>
              <a:gd name="connsiteY2" fmla="*/ 21304444 h 21304444"/>
              <a:gd name="connsiteX3" fmla="*/ 268926 w 3000405"/>
              <a:gd name="connsiteY3" fmla="*/ 3762331 h 21304444"/>
              <a:gd name="connsiteX4" fmla="*/ 1430877 w 3000405"/>
              <a:gd name="connsiteY4" fmla="*/ 0 h 21304444"/>
              <a:gd name="connsiteX0" fmla="*/ 1319553 w 2889081"/>
              <a:gd name="connsiteY0" fmla="*/ 0 h 21375720"/>
              <a:gd name="connsiteX1" fmla="*/ 2599455 w 2889081"/>
              <a:gd name="connsiteY1" fmla="*/ 20881175 h 21375720"/>
              <a:gd name="connsiteX2" fmla="*/ 1095816 w 2889081"/>
              <a:gd name="connsiteY2" fmla="*/ 21304444 h 21375720"/>
              <a:gd name="connsiteX3" fmla="*/ 312585 w 2889081"/>
              <a:gd name="connsiteY3" fmla="*/ 21370449 h 21375720"/>
              <a:gd name="connsiteX4" fmla="*/ 1319553 w 2889081"/>
              <a:gd name="connsiteY4" fmla="*/ 0 h 21375720"/>
              <a:gd name="connsiteX0" fmla="*/ 1319553 w 2889081"/>
              <a:gd name="connsiteY0" fmla="*/ 0 h 21389102"/>
              <a:gd name="connsiteX1" fmla="*/ 2599455 w 2889081"/>
              <a:gd name="connsiteY1" fmla="*/ 21389102 h 21389102"/>
              <a:gd name="connsiteX2" fmla="*/ 1095816 w 2889081"/>
              <a:gd name="connsiteY2" fmla="*/ 21304444 h 21389102"/>
              <a:gd name="connsiteX3" fmla="*/ 312585 w 2889081"/>
              <a:gd name="connsiteY3" fmla="*/ 21370449 h 21389102"/>
              <a:gd name="connsiteX4" fmla="*/ 1319553 w 2889081"/>
              <a:gd name="connsiteY4" fmla="*/ 0 h 21389102"/>
              <a:gd name="connsiteX0" fmla="*/ 1319553 w 2889081"/>
              <a:gd name="connsiteY0" fmla="*/ 0 h 21643060"/>
              <a:gd name="connsiteX1" fmla="*/ 2599455 w 2889081"/>
              <a:gd name="connsiteY1" fmla="*/ 21389102 h 21643060"/>
              <a:gd name="connsiteX2" fmla="*/ 1111314 w 2889081"/>
              <a:gd name="connsiteY2" fmla="*/ 21643060 h 21643060"/>
              <a:gd name="connsiteX3" fmla="*/ 312585 w 2889081"/>
              <a:gd name="connsiteY3" fmla="*/ 21370449 h 21643060"/>
              <a:gd name="connsiteX4" fmla="*/ 1319553 w 2889081"/>
              <a:gd name="connsiteY4" fmla="*/ 0 h 21643060"/>
              <a:gd name="connsiteX0" fmla="*/ 1432201 w 3001729"/>
              <a:gd name="connsiteY0" fmla="*/ 0 h 21643060"/>
              <a:gd name="connsiteX1" fmla="*/ 2712103 w 3001729"/>
              <a:gd name="connsiteY1" fmla="*/ 21389102 h 21643060"/>
              <a:gd name="connsiteX2" fmla="*/ 1223962 w 3001729"/>
              <a:gd name="connsiteY2" fmla="*/ 21643060 h 21643060"/>
              <a:gd name="connsiteX3" fmla="*/ 425233 w 3001729"/>
              <a:gd name="connsiteY3" fmla="*/ 21370449 h 21643060"/>
              <a:gd name="connsiteX4" fmla="*/ 1432201 w 3001729"/>
              <a:gd name="connsiteY4" fmla="*/ 0 h 21643060"/>
              <a:gd name="connsiteX0" fmla="*/ 1432201 w 3131536"/>
              <a:gd name="connsiteY0" fmla="*/ 0 h 21643060"/>
              <a:gd name="connsiteX1" fmla="*/ 2712103 w 3131536"/>
              <a:gd name="connsiteY1" fmla="*/ 21389102 h 21643060"/>
              <a:gd name="connsiteX2" fmla="*/ 1223962 w 3131536"/>
              <a:gd name="connsiteY2" fmla="*/ 21643060 h 21643060"/>
              <a:gd name="connsiteX3" fmla="*/ 425233 w 3131536"/>
              <a:gd name="connsiteY3" fmla="*/ 21370449 h 21643060"/>
              <a:gd name="connsiteX4" fmla="*/ 1432201 w 3131536"/>
              <a:gd name="connsiteY4" fmla="*/ 0 h 21643060"/>
              <a:gd name="connsiteX0" fmla="*/ 1432201 w 3131536"/>
              <a:gd name="connsiteY0" fmla="*/ 0 h 21389102"/>
              <a:gd name="connsiteX1" fmla="*/ 2712103 w 3131536"/>
              <a:gd name="connsiteY1" fmla="*/ 21389102 h 21389102"/>
              <a:gd name="connsiteX2" fmla="*/ 425233 w 3131536"/>
              <a:gd name="connsiteY2" fmla="*/ 21370449 h 21389102"/>
              <a:gd name="connsiteX3" fmla="*/ 1432201 w 3131536"/>
              <a:gd name="connsiteY3" fmla="*/ 0 h 21389102"/>
              <a:gd name="connsiteX0" fmla="*/ 1570161 w 3269496"/>
              <a:gd name="connsiteY0" fmla="*/ 0 h 21455107"/>
              <a:gd name="connsiteX1" fmla="*/ 2850063 w 3269496"/>
              <a:gd name="connsiteY1" fmla="*/ 21389102 h 21455107"/>
              <a:gd name="connsiteX2" fmla="*/ 346216 w 3269496"/>
              <a:gd name="connsiteY2" fmla="*/ 21455107 h 21455107"/>
              <a:gd name="connsiteX3" fmla="*/ 1570161 w 3269496"/>
              <a:gd name="connsiteY3" fmla="*/ 0 h 21455107"/>
              <a:gd name="connsiteX0" fmla="*/ 1601774 w 3265775"/>
              <a:gd name="connsiteY0" fmla="*/ 0 h 21201143"/>
              <a:gd name="connsiteX1" fmla="*/ 2835181 w 3265775"/>
              <a:gd name="connsiteY1" fmla="*/ 21135138 h 21201143"/>
              <a:gd name="connsiteX2" fmla="*/ 331334 w 3265775"/>
              <a:gd name="connsiteY2" fmla="*/ 21201143 h 21201143"/>
              <a:gd name="connsiteX3" fmla="*/ 1601774 w 3265775"/>
              <a:gd name="connsiteY3" fmla="*/ 0 h 21201143"/>
              <a:gd name="connsiteX0" fmla="*/ 1593764 w 3257765"/>
              <a:gd name="connsiteY0" fmla="*/ 0 h 21201143"/>
              <a:gd name="connsiteX1" fmla="*/ 2827171 w 3257765"/>
              <a:gd name="connsiteY1" fmla="*/ 21135138 h 21201143"/>
              <a:gd name="connsiteX2" fmla="*/ 323324 w 3257765"/>
              <a:gd name="connsiteY2" fmla="*/ 21201143 h 21201143"/>
              <a:gd name="connsiteX3" fmla="*/ 1593764 w 3257765"/>
              <a:gd name="connsiteY3" fmla="*/ 0 h 21201143"/>
              <a:gd name="connsiteX0" fmla="*/ 1593764 w 3257765"/>
              <a:gd name="connsiteY0" fmla="*/ 0 h 21201143"/>
              <a:gd name="connsiteX1" fmla="*/ 2827171 w 3257765"/>
              <a:gd name="connsiteY1" fmla="*/ 21135138 h 21201143"/>
              <a:gd name="connsiteX2" fmla="*/ 323324 w 3257765"/>
              <a:gd name="connsiteY2" fmla="*/ 21201143 h 21201143"/>
              <a:gd name="connsiteX3" fmla="*/ 1593764 w 3257765"/>
              <a:gd name="connsiteY3" fmla="*/ 0 h 21201143"/>
              <a:gd name="connsiteX0" fmla="*/ 1652974 w 3316975"/>
              <a:gd name="connsiteY0" fmla="*/ 0 h 21201143"/>
              <a:gd name="connsiteX1" fmla="*/ 2886381 w 3316975"/>
              <a:gd name="connsiteY1" fmla="*/ 21135138 h 21201143"/>
              <a:gd name="connsiteX2" fmla="*/ 382534 w 3316975"/>
              <a:gd name="connsiteY2" fmla="*/ 21201143 h 21201143"/>
              <a:gd name="connsiteX3" fmla="*/ 1652974 w 3316975"/>
              <a:gd name="connsiteY3" fmla="*/ 0 h 21201143"/>
              <a:gd name="connsiteX0" fmla="*/ 1704018 w 3310177"/>
              <a:gd name="connsiteY0" fmla="*/ 0 h 21116490"/>
              <a:gd name="connsiteX1" fmla="*/ 2859934 w 3310177"/>
              <a:gd name="connsiteY1" fmla="*/ 21050485 h 21116490"/>
              <a:gd name="connsiteX2" fmla="*/ 356087 w 3310177"/>
              <a:gd name="connsiteY2" fmla="*/ 21116490 h 21116490"/>
              <a:gd name="connsiteX3" fmla="*/ 1704018 w 3310177"/>
              <a:gd name="connsiteY3" fmla="*/ 0 h 21116490"/>
              <a:gd name="connsiteX0" fmla="*/ 1633089 w 3320596"/>
              <a:gd name="connsiteY0" fmla="*/ 0 h 21031837"/>
              <a:gd name="connsiteX1" fmla="*/ 2897493 w 3320596"/>
              <a:gd name="connsiteY1" fmla="*/ 20965832 h 21031837"/>
              <a:gd name="connsiteX2" fmla="*/ 393646 w 3320596"/>
              <a:gd name="connsiteY2" fmla="*/ 21031837 h 21031837"/>
              <a:gd name="connsiteX3" fmla="*/ 1633089 w 3320596"/>
              <a:gd name="connsiteY3" fmla="*/ 0 h 21031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0596" h="21031837">
                <a:moveTo>
                  <a:pt x="1633089" y="0"/>
                </a:moveTo>
                <a:cubicBezTo>
                  <a:pt x="3192106" y="8490146"/>
                  <a:pt x="3805271" y="14251356"/>
                  <a:pt x="2897493" y="20965832"/>
                </a:cubicBezTo>
                <a:lnTo>
                  <a:pt x="393646" y="21031837"/>
                </a:lnTo>
                <a:cubicBezTo>
                  <a:pt x="-122581" y="20149977"/>
                  <a:pt x="-473563" y="9897093"/>
                  <a:pt x="1633089" y="0"/>
                </a:cubicBezTo>
                <a:close/>
              </a:path>
            </a:pathLst>
          </a:custGeom>
          <a:pattFill prst="pct80">
            <a:fgClr>
              <a:srgbClr val="1C7862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13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6289900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2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algn="r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8573" marR="0" lvl="0" indent="0" algn="r" defTabSz="61722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6270C58F-F88C-654D-9A3C-FE707113D30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52475" y="1637222"/>
            <a:ext cx="10687050" cy="276999"/>
          </a:xfrm>
          <a:pattFill prst="pct30">
            <a:fgClr>
              <a:srgbClr val="00B685"/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E7CC783A-D755-4C37-9877-6C47505AFE4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835764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215">
              <a:solidFill>
                <a:schemeClr val="bg1"/>
              </a:solidFill>
            </a:endParaRPr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1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6270C58F-F88C-654D-9A3C-FE707113D30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52475" y="1637222"/>
            <a:ext cx="10687050" cy="276999"/>
          </a:xfrm>
          <a:pattFill prst="pct30">
            <a:fgClr>
              <a:srgbClr val="00B685"/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13E28B69-BAD4-42F2-B76B-95EBE0FDE2A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389243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2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6270C58F-F88C-654D-9A3C-FE707113D30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52475" y="1637222"/>
            <a:ext cx="10687050" cy="276999"/>
          </a:xfrm>
          <a:pattFill prst="pct30">
            <a:fgClr>
              <a:srgbClr val="00B685"/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A6AA275-F187-4B9A-961F-E431F784B40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116022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1215">
              <a:solidFill>
                <a:schemeClr val="bg1"/>
              </a:solidFill>
            </a:endParaRPr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2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1D15DA35-8FCF-4761-93C1-398A4DCC154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697535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nn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2728" y="279324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FC9089E1-5851-6945-9B5F-503F325A8923}"/>
              </a:ext>
            </a:extLst>
          </p:cNvPr>
          <p:cNvSpPr txBox="1"/>
          <p:nvPr userDrawn="1"/>
        </p:nvSpPr>
        <p:spPr>
          <a:xfrm>
            <a:off x="20053" y="-1082825"/>
            <a:ext cx="1982153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de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la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présentation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p.3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3D017B9A-1C12-3246-96BD-E2D983CA0721}"/>
              </a:ext>
            </a:extLst>
          </p:cNvPr>
          <p:cNvSpPr txBox="1"/>
          <p:nvPr userDrawn="1"/>
        </p:nvSpPr>
        <p:spPr>
          <a:xfrm>
            <a:off x="11139709" y="-1082825"/>
            <a:ext cx="634364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1</a:t>
            </a:r>
            <a:r>
              <a:rPr sz="945" b="1" spc="-14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</a:t>
            </a:r>
            <a:r>
              <a:rPr sz="945" b="1" spc="7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2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21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52FAF67C-7588-B944-A36F-AAFC6F631933}"/>
              </a:ext>
            </a:extLst>
          </p:cNvPr>
          <p:cNvSpPr/>
          <p:nvPr userDrawn="1"/>
        </p:nvSpPr>
        <p:spPr>
          <a:xfrm>
            <a:off x="11031355" y="-7347042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6"/>
                </a:lnTo>
                <a:lnTo>
                  <a:pt x="483023" y="409199"/>
                </a:lnTo>
                <a:lnTo>
                  <a:pt x="483031" y="410937"/>
                </a:lnTo>
                <a:lnTo>
                  <a:pt x="478538" y="472829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5" y="458619"/>
                </a:lnTo>
                <a:lnTo>
                  <a:pt x="24099" y="514159"/>
                </a:lnTo>
                <a:lnTo>
                  <a:pt x="54063" y="569315"/>
                </a:lnTo>
                <a:lnTo>
                  <a:pt x="74474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3" y="475242"/>
                </a:lnTo>
                <a:lnTo>
                  <a:pt x="63376" y="443185"/>
                </a:lnTo>
                <a:lnTo>
                  <a:pt x="58671" y="410937"/>
                </a:lnTo>
                <a:lnTo>
                  <a:pt x="57124" y="379552"/>
                </a:lnTo>
                <a:lnTo>
                  <a:pt x="60457" y="333636"/>
                </a:lnTo>
                <a:lnTo>
                  <a:pt x="70230" y="289234"/>
                </a:lnTo>
                <a:lnTo>
                  <a:pt x="86102" y="246949"/>
                </a:lnTo>
                <a:lnTo>
                  <a:pt x="107732" y="207381"/>
                </a:lnTo>
                <a:lnTo>
                  <a:pt x="134780" y="171135"/>
                </a:lnTo>
                <a:lnTo>
                  <a:pt x="166906" y="138813"/>
                </a:lnTo>
                <a:lnTo>
                  <a:pt x="203769" y="111016"/>
                </a:lnTo>
                <a:lnTo>
                  <a:pt x="245028" y="88347"/>
                </a:lnTo>
                <a:lnTo>
                  <a:pt x="290344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2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2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1" y="379552"/>
                </a:lnTo>
                <a:lnTo>
                  <a:pt x="125508" y="390389"/>
                </a:lnTo>
                <a:lnTo>
                  <a:pt x="132759" y="398167"/>
                </a:lnTo>
                <a:lnTo>
                  <a:pt x="142496" y="402501"/>
                </a:lnTo>
                <a:lnTo>
                  <a:pt x="154050" y="403009"/>
                </a:lnTo>
                <a:lnTo>
                  <a:pt x="164308" y="398738"/>
                </a:lnTo>
                <a:lnTo>
                  <a:pt x="171788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2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CA1E459-A765-C64A-8647-B851D2404055}"/>
              </a:ext>
            </a:extLst>
          </p:cNvPr>
          <p:cNvSpPr txBox="1">
            <a:spLocks/>
          </p:cNvSpPr>
          <p:nvPr userDrawn="1"/>
        </p:nvSpPr>
        <p:spPr>
          <a:xfrm>
            <a:off x="98634" y="-7579079"/>
            <a:ext cx="7746683" cy="1240083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>
            <a:lvl1pPr>
              <a:defRPr sz="9000" b="1" i="0">
                <a:solidFill>
                  <a:schemeClr val="bg1"/>
                </a:solidFill>
                <a:latin typeface="Baloo 2"/>
                <a:ea typeface="+mj-ea"/>
                <a:cs typeface="Baloo 2"/>
              </a:defRPr>
            </a:lvl1pPr>
          </a:lstStyle>
          <a:p>
            <a:pPr marL="8573" marR="3429">
              <a:lnSpc>
                <a:spcPts val="4725"/>
              </a:lnSpc>
              <a:spcBef>
                <a:spcPts val="270"/>
              </a:spcBef>
              <a:tabLst>
                <a:tab pos="1209151" algn="l"/>
                <a:tab pos="1250299" algn="l"/>
                <a:tab pos="1477470" algn="l"/>
                <a:tab pos="2062544" algn="l"/>
                <a:tab pos="2432447" algn="l"/>
                <a:tab pos="2906078" algn="l"/>
                <a:tab pos="3926205" algn="l"/>
                <a:tab pos="4058650" algn="l"/>
                <a:tab pos="4333399" algn="l"/>
                <a:tab pos="5768007" algn="l"/>
                <a:tab pos="6465380" algn="l"/>
              </a:tabLst>
            </a:pPr>
            <a:r>
              <a:rPr lang="fr-FR" sz="4050" kern="0" spc="-20">
                <a:solidFill>
                  <a:srgbClr val="00C9FF"/>
                </a:solidFill>
              </a:rPr>
              <a:t>Titre	</a:t>
            </a:r>
            <a:r>
              <a:rPr lang="fr-FR" sz="4050" kern="0">
                <a:solidFill>
                  <a:srgbClr val="00C9FF"/>
                </a:solidFill>
              </a:rPr>
              <a:t>sur	2	lignes	maximum </a:t>
            </a:r>
            <a:r>
              <a:rPr lang="fr-FR" sz="4050" kern="0" spc="3">
                <a:solidFill>
                  <a:srgbClr val="00C9FF"/>
                </a:solidFill>
              </a:rPr>
              <a:t> </a:t>
            </a:r>
            <a:r>
              <a:rPr lang="fr-FR" sz="4050" kern="0" spc="-68">
                <a:solidFill>
                  <a:srgbClr val="00C9FF"/>
                </a:solidFill>
              </a:rPr>
              <a:t>T</a:t>
            </a:r>
            <a:r>
              <a:rPr lang="fr-FR" sz="4050" kern="0" spc="-30">
                <a:solidFill>
                  <a:srgbClr val="00C9FF"/>
                </a:solidFill>
              </a:rPr>
              <a:t>y</a:t>
            </a:r>
            <a:r>
              <a:rPr lang="fr-FR" sz="4050" kern="0">
                <a:solidFill>
                  <a:srgbClr val="00C9FF"/>
                </a:solidFill>
              </a:rPr>
              <a:t>po		:	</a:t>
            </a:r>
            <a:r>
              <a:rPr lang="fr-FR" sz="4050" kern="0" err="1">
                <a:solidFill>
                  <a:srgbClr val="00C9FF"/>
                </a:solidFill>
              </a:rPr>
              <a:t>Baloo</a:t>
            </a:r>
            <a:r>
              <a:rPr lang="fr-FR" sz="4050" kern="0">
                <a:solidFill>
                  <a:srgbClr val="00C9FF"/>
                </a:solidFill>
              </a:rPr>
              <a:t>	</a:t>
            </a:r>
            <a:r>
              <a:rPr lang="fr-FR" sz="4050" kern="0" spc="-14">
                <a:solidFill>
                  <a:srgbClr val="00C9FF"/>
                </a:solidFill>
              </a:rPr>
              <a:t>B</a:t>
            </a:r>
            <a:r>
              <a:rPr lang="fr-FR" sz="4050" kern="0">
                <a:solidFill>
                  <a:srgbClr val="00C9FF"/>
                </a:solidFill>
              </a:rPr>
              <a:t>old	/	</a:t>
            </a:r>
            <a:r>
              <a:rPr lang="fr-FR" sz="4050" kern="0" spc="-68">
                <a:solidFill>
                  <a:srgbClr val="00C9FF"/>
                </a:solidFill>
              </a:rPr>
              <a:t>C</a:t>
            </a:r>
            <a:r>
              <a:rPr lang="fr-FR" sz="4050" kern="0">
                <a:solidFill>
                  <a:srgbClr val="00C9FF"/>
                </a:solidFill>
              </a:rPr>
              <a:t>o</a:t>
            </a:r>
            <a:r>
              <a:rPr lang="fr-FR" sz="4050" kern="0" spc="-37">
                <a:solidFill>
                  <a:srgbClr val="00C9FF"/>
                </a:solidFill>
              </a:rPr>
              <a:t>r</a:t>
            </a:r>
            <a:r>
              <a:rPr lang="fr-FR" sz="4050" kern="0">
                <a:solidFill>
                  <a:srgbClr val="00C9FF"/>
                </a:solidFill>
              </a:rPr>
              <a:t>ps	60	pt</a:t>
            </a:r>
            <a:endParaRPr lang="fr-FR" sz="4050" kern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4229BE28-591F-0541-BB08-8FC47EA71F6B}"/>
              </a:ext>
            </a:extLst>
          </p:cNvPr>
          <p:cNvSpPr txBox="1"/>
          <p:nvPr userDrawn="1"/>
        </p:nvSpPr>
        <p:spPr>
          <a:xfrm>
            <a:off x="96253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878289DC-09BB-E44C-A1A4-7E9A570F21E3}"/>
              </a:ext>
            </a:extLst>
          </p:cNvPr>
          <p:cNvSpPr txBox="1"/>
          <p:nvPr userDrawn="1"/>
        </p:nvSpPr>
        <p:spPr>
          <a:xfrm>
            <a:off x="401851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BC923298-615B-8B45-9FFC-58F6932842F4}"/>
              </a:ext>
            </a:extLst>
          </p:cNvPr>
          <p:cNvSpPr txBox="1"/>
          <p:nvPr userDrawn="1"/>
        </p:nvSpPr>
        <p:spPr>
          <a:xfrm>
            <a:off x="792054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E3972B00-7B11-414F-8999-E7F7CA46C692}"/>
              </a:ext>
            </a:extLst>
          </p:cNvPr>
          <p:cNvSpPr txBox="1"/>
          <p:nvPr userDrawn="1"/>
        </p:nvSpPr>
        <p:spPr>
          <a:xfrm>
            <a:off x="98647" y="-4598269"/>
            <a:ext cx="3540443" cy="2764348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79296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ligen tiorion</a:t>
            </a:r>
            <a:r>
              <a:rPr sz="945">
                <a:latin typeface="Montserrat"/>
                <a:cs typeface="Montserrat"/>
              </a:rPr>
              <a:t> estrupt</a:t>
            </a:r>
            <a:r>
              <a:rPr sz="945" spc="-3">
                <a:latin typeface="Montserrat"/>
                <a:cs typeface="Montserrat"/>
              </a:rPr>
              <a:t> urenia</a:t>
            </a:r>
            <a:r>
              <a:rPr sz="945">
                <a:latin typeface="Montserrat"/>
                <a:cs typeface="Montserrat"/>
              </a:rPr>
              <a:t> se</a:t>
            </a:r>
            <a:r>
              <a:rPr sz="945" spc="-3">
                <a:latin typeface="Montserrat"/>
                <a:cs typeface="Montserrat"/>
              </a:rPr>
              <a:t> pore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or</a:t>
            </a:r>
            <a:r>
              <a:rPr sz="945" spc="-3">
                <a:latin typeface="Montserrat"/>
                <a:cs typeface="Montserrat"/>
              </a:rPr>
              <a:t> roriandit peliquaero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it</a:t>
            </a:r>
            <a:r>
              <a:rPr sz="945" spc="-3">
                <a:latin typeface="Montserrat"/>
                <a:cs typeface="Montserrat"/>
              </a:rPr>
              <a:t> veles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qui</a:t>
            </a:r>
          </a:p>
          <a:p>
            <a:pPr marL="8573" marR="3429" algn="just">
              <a:lnSpc>
                <a:spcPct val="119100"/>
              </a:lnSpc>
            </a:pPr>
            <a:r>
              <a:rPr sz="945" spc="10">
                <a:latin typeface="Montserrat"/>
                <a:cs typeface="Montserrat"/>
              </a:rPr>
              <a:t>offici </a:t>
            </a:r>
            <a:r>
              <a:rPr sz="945" spc="-7">
                <a:latin typeface="Montserrat"/>
                <a:cs typeface="Montserrat"/>
              </a:rPr>
              <a:t>autet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nda </a:t>
            </a:r>
            <a:r>
              <a:rPr sz="945">
                <a:latin typeface="Montserrat"/>
                <a:cs typeface="Montserrat"/>
              </a:rPr>
              <a:t>ipitat ut quas dolessum </a:t>
            </a:r>
            <a:r>
              <a:rPr sz="945" spc="-10">
                <a:latin typeface="Montserrat"/>
                <a:cs typeface="Montserrat"/>
              </a:rPr>
              <a:t>exero- </a:t>
            </a:r>
            <a:r>
              <a:rPr sz="945" spc="-24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vitist ipicipicae </a:t>
            </a:r>
            <a:r>
              <a:rPr sz="945" spc="-3">
                <a:latin typeface="Montserrat"/>
                <a:cs typeface="Montserrat"/>
              </a:rPr>
              <a:t>iusapero </a:t>
            </a:r>
            <a:r>
              <a:rPr sz="945">
                <a:latin typeface="Montserrat"/>
                <a:cs typeface="Montserrat"/>
              </a:rPr>
              <a:t>iumquos ant </a:t>
            </a:r>
            <a:r>
              <a:rPr sz="945" spc="-10">
                <a:latin typeface="Montserrat"/>
                <a:cs typeface="Montserrat"/>
              </a:rPr>
              <a:t>verio. </a:t>
            </a:r>
            <a:r>
              <a:rPr sz="945" spc="-3">
                <a:latin typeface="Montserrat"/>
                <a:cs typeface="Montserrat"/>
              </a:rPr>
              <a:t>Ictem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mi,</a:t>
            </a:r>
            <a:r>
              <a:rPr sz="945" spc="-3">
                <a:latin typeface="Montserrat"/>
                <a:cs typeface="Montserrat"/>
              </a:rPr>
              <a:t> saeriatentis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atur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>
                <a:latin typeface="Montserrat"/>
                <a:cs typeface="Montserrat"/>
              </a:rPr>
              <a:t> harunt.</a:t>
            </a:r>
          </a:p>
          <a:p>
            <a:pPr marL="8573" marR="3343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Ent u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eaqui </a:t>
            </a:r>
            <a:r>
              <a:rPr sz="945">
                <a:latin typeface="Montserrat"/>
                <a:cs typeface="Montserrat"/>
              </a:rPr>
              <a:t>odic </a:t>
            </a:r>
            <a:r>
              <a:rPr sz="945" spc="-7">
                <a:latin typeface="Montserrat"/>
                <a:cs typeface="Montserrat"/>
              </a:rPr>
              <a:t>tenim </a:t>
            </a:r>
            <a:r>
              <a:rPr sz="945">
                <a:latin typeface="Montserrat"/>
                <a:cs typeface="Montserrat"/>
              </a:rPr>
              <a:t>ullicia epudam </a:t>
            </a:r>
            <a:r>
              <a:rPr sz="945" spc="-7">
                <a:latin typeface="Montserrat"/>
                <a:cs typeface="Montserrat"/>
              </a:rPr>
              <a:t>expe 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undam aut alit quat quam </a:t>
            </a:r>
            <a:r>
              <a:rPr sz="945" spc="-7">
                <a:latin typeface="Montserrat"/>
                <a:cs typeface="Montserrat"/>
              </a:rPr>
              <a:t>ute velliatem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prorum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 quis aut qui odit il et dunt </a:t>
            </a:r>
            <a:r>
              <a:rPr sz="945" spc="-3">
                <a:latin typeface="Montserrat"/>
                <a:cs typeface="Montserrat"/>
              </a:rPr>
              <a:t>volupta </a:t>
            </a:r>
            <a:r>
              <a:rPr sz="945">
                <a:latin typeface="Montserrat"/>
                <a:cs typeface="Montserrat"/>
              </a:rPr>
              <a:t>sae </a:t>
            </a:r>
            <a:r>
              <a:rPr sz="945" spc="-3">
                <a:latin typeface="Montserrat"/>
                <a:cs typeface="Montserrat"/>
              </a:rPr>
              <a:t>volla </a:t>
            </a:r>
            <a:r>
              <a:rPr sz="945">
                <a:latin typeface="Montserrat"/>
                <a:cs typeface="Montserrat"/>
              </a:rPr>
              <a:t>ne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lliquas as </a:t>
            </a:r>
            <a:r>
              <a:rPr sz="945" spc="-3">
                <a:latin typeface="Montserrat"/>
                <a:cs typeface="Montserrat"/>
              </a:rPr>
              <a:t>velitas </a:t>
            </a:r>
            <a:r>
              <a:rPr sz="945">
                <a:latin typeface="Montserrat"/>
                <a:cs typeface="Montserrat"/>
              </a:rPr>
              <a:t>autatibus non </a:t>
            </a:r>
            <a:r>
              <a:rPr sz="945" spc="-3">
                <a:latin typeface="Montserrat"/>
                <a:cs typeface="Montserrat"/>
              </a:rPr>
              <a:t>etur, </a:t>
            </a:r>
            <a:r>
              <a:rPr sz="945">
                <a:latin typeface="Montserrat"/>
                <a:cs typeface="Montserrat"/>
              </a:rPr>
              <a:t>iunt </a:t>
            </a:r>
            <a:r>
              <a:rPr sz="945" spc="-3">
                <a:latin typeface="Montserrat"/>
                <a:cs typeface="Montserrat"/>
              </a:rPr>
              <a:t>quuntem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bo. </a:t>
            </a:r>
            <a:r>
              <a:rPr sz="945">
                <a:latin typeface="Montserrat"/>
                <a:cs typeface="Montserrat"/>
              </a:rPr>
              <a:t>Nam, audantist, sunt aut </a:t>
            </a:r>
            <a:r>
              <a:rPr sz="945" spc="-3">
                <a:latin typeface="Montserrat"/>
                <a:cs typeface="Montserrat"/>
              </a:rPr>
              <a:t>expla </a:t>
            </a:r>
            <a:r>
              <a:rPr sz="945">
                <a:latin typeface="Montserrat"/>
                <a:cs typeface="Montserrat"/>
              </a:rPr>
              <a:t>dis magna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ullaboria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land unditatio.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dol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ic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10">
                <a:latin typeface="Montserrat"/>
                <a:cs typeface="Montserrat"/>
              </a:rPr>
              <a:t>offic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,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,</a:t>
            </a:r>
            <a:r>
              <a:rPr sz="945" spc="-3">
                <a:latin typeface="Montserrat"/>
                <a:cs typeface="Montserrat"/>
              </a:rPr>
              <a:t> vellias </a:t>
            </a:r>
            <a:r>
              <a:rPr sz="945">
                <a:latin typeface="Montserrat"/>
                <a:cs typeface="Montserrat"/>
              </a:rPr>
              <a:t>e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umquo </a:t>
            </a:r>
            <a:r>
              <a:rPr sz="945" spc="-236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itibu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stota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</a:t>
            </a:r>
            <a:r>
              <a:rPr sz="945" spc="-3">
                <a:latin typeface="Montserrat"/>
                <a:cs typeface="Montserrat"/>
              </a:rPr>
              <a:t> prae </a:t>
            </a:r>
            <a:r>
              <a:rPr sz="945">
                <a:latin typeface="Montserrat"/>
                <a:cs typeface="Montserrat"/>
              </a:rPr>
              <a:t>quibusa</a:t>
            </a:r>
            <a:r>
              <a:rPr sz="945" spc="-3">
                <a:latin typeface="Montserrat"/>
                <a:cs typeface="Montserrat"/>
              </a:rPr>
              <a:t> doloris </a:t>
            </a:r>
            <a:r>
              <a:rPr sz="945">
                <a:latin typeface="Montserrat"/>
                <a:cs typeface="Montserrat"/>
              </a:rPr>
              <a:t>sa </a:t>
            </a:r>
            <a:r>
              <a:rPr sz="945" spc="-3">
                <a:latin typeface="Montserrat"/>
                <a:cs typeface="Montserrat"/>
              </a:rPr>
              <a:t>volupta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ate</a:t>
            </a:r>
            <a:r>
              <a:rPr sz="945" spc="-3">
                <a:latin typeface="Montserrat"/>
                <a:cs typeface="Montserrat"/>
              </a:rPr>
              <a:t> rerisquati </a:t>
            </a:r>
            <a:r>
              <a:rPr sz="945">
                <a:latin typeface="Montserrat"/>
                <a:cs typeface="Montserrat"/>
              </a:rPr>
              <a:t>aliqu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atet</a:t>
            </a:r>
            <a:r>
              <a:rPr sz="945">
                <a:latin typeface="Montserrat"/>
                <a:cs typeface="Montserrat"/>
              </a:rPr>
              <a:t> dolliquamet</a:t>
            </a:r>
            <a:r>
              <a:rPr sz="945" spc="-3">
                <a:latin typeface="Montserrat"/>
                <a:cs typeface="Montserrat"/>
              </a:rPr>
              <a:t> dolorese- </a:t>
            </a:r>
            <a:r>
              <a:rPr sz="945">
                <a:latin typeface="Montserrat"/>
                <a:cs typeface="Montserrat"/>
              </a:rPr>
              <a:t> qu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ons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imus</a:t>
            </a: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id="{A4364D2F-1783-3443-A250-33A7AFD1EA6A}"/>
              </a:ext>
            </a:extLst>
          </p:cNvPr>
          <p:cNvSpPr txBox="1"/>
          <p:nvPr userDrawn="1"/>
        </p:nvSpPr>
        <p:spPr>
          <a:xfrm>
            <a:off x="4020205" y="-4597548"/>
            <a:ext cx="3477101" cy="2602572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ccusam </a:t>
            </a:r>
            <a:r>
              <a:rPr sz="945">
                <a:latin typeface="Montserrat"/>
                <a:cs typeface="Montserrat"/>
              </a:rPr>
              <a:t>nos es intur sequam </a:t>
            </a:r>
            <a:r>
              <a:rPr sz="945" spc="-7">
                <a:latin typeface="Montserrat"/>
                <a:cs typeface="Montserrat"/>
              </a:rPr>
              <a:t>atem </a:t>
            </a:r>
            <a:r>
              <a:rPr sz="945">
                <a:latin typeface="Montserrat"/>
                <a:cs typeface="Montserrat"/>
              </a:rPr>
              <a:t>aut lanis a s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i </a:t>
            </a:r>
            <a:r>
              <a:rPr sz="945">
                <a:latin typeface="Montserrat"/>
                <a:cs typeface="Montserrat"/>
              </a:rPr>
              <a:t>ullupt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oreperchit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scia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empo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qua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t,</a:t>
            </a:r>
            <a:r>
              <a:rPr sz="945" spc="-7">
                <a:latin typeface="Montserrat"/>
                <a:cs typeface="Montserrat"/>
              </a:rPr>
              <a:t> te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ectatati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iqui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agn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a </a:t>
            </a:r>
            <a:r>
              <a:rPr sz="945" spc="-3">
                <a:latin typeface="Montserrat"/>
                <a:cs typeface="Montserrat"/>
              </a:rPr>
              <a:t>solorero </a:t>
            </a:r>
            <a:r>
              <a:rPr sz="945">
                <a:latin typeface="Montserrat"/>
                <a:cs typeface="Montserrat"/>
              </a:rPr>
              <a:t>modist atumque enimil ium quam </a:t>
            </a:r>
            <a:r>
              <a:rPr sz="945" spc="-3">
                <a:latin typeface="Montserrat"/>
                <a:cs typeface="Montserrat"/>
              </a:rPr>
              <a:t>ari </a:t>
            </a:r>
            <a:r>
              <a:rPr sz="945">
                <a:latin typeface="Montserrat"/>
                <a:cs typeface="Montserrat"/>
              </a:rPr>
              <a:t> nitas culla ne </a:t>
            </a:r>
            <a:r>
              <a:rPr sz="945" spc="-7">
                <a:latin typeface="Montserrat"/>
                <a:cs typeface="Montserrat"/>
              </a:rPr>
              <a:t>ra </a:t>
            </a:r>
            <a:r>
              <a:rPr sz="945" spc="-3">
                <a:latin typeface="Montserrat"/>
                <a:cs typeface="Montserrat"/>
              </a:rPr>
              <a:t>comnisint, </a:t>
            </a:r>
            <a:r>
              <a:rPr sz="945">
                <a:latin typeface="Montserrat"/>
                <a:cs typeface="Montserrat"/>
              </a:rPr>
              <a:t>ut hitatus a </a:t>
            </a:r>
            <a:r>
              <a:rPr sz="945" spc="-3">
                <a:latin typeface="Montserrat"/>
                <a:cs typeface="Montserrat"/>
              </a:rPr>
              <a:t>voluptas pa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emque </a:t>
            </a:r>
            <a:r>
              <a:rPr sz="945">
                <a:latin typeface="Montserrat"/>
                <a:cs typeface="Montserrat"/>
              </a:rPr>
              <a:t>nonsendis ni berum sed moluptat et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t as </a:t>
            </a:r>
            <a:r>
              <a:rPr sz="945" spc="-3">
                <a:latin typeface="Montserrat"/>
                <a:cs typeface="Montserrat"/>
              </a:rPr>
              <a:t>volor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olupid untur, </a:t>
            </a:r>
            <a:r>
              <a:rPr sz="945">
                <a:latin typeface="Montserrat"/>
                <a:cs typeface="Montserrat"/>
              </a:rPr>
              <a:t>quiae </a:t>
            </a:r>
            <a:r>
              <a:rPr sz="945" spc="-3">
                <a:latin typeface="Montserrat"/>
                <a:cs typeface="Montserrat"/>
              </a:rPr>
              <a:t>verum fugite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arum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>
                <a:latin typeface="Montserrat"/>
                <a:cs typeface="Montserrat"/>
              </a:rPr>
              <a:t> 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pi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libus 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di</a:t>
            </a:r>
            <a:r>
              <a:rPr sz="945" spc="-3">
                <a:latin typeface="Montserrat"/>
                <a:cs typeface="Montserrat"/>
              </a:rPr>
              <a:t> beaquam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orest, </a:t>
            </a:r>
            <a:r>
              <a:rPr sz="945">
                <a:latin typeface="Montserrat"/>
                <a:cs typeface="Montserrat"/>
              </a:rPr>
              <a:t>senihilitio </a:t>
            </a:r>
            <a:r>
              <a:rPr sz="945" spc="-3">
                <a:latin typeface="Montserrat"/>
                <a:cs typeface="Montserrat"/>
              </a:rPr>
              <a:t>beratibus </a:t>
            </a:r>
            <a:r>
              <a:rPr sz="945">
                <a:latin typeface="Montserrat"/>
                <a:cs typeface="Montserrat"/>
              </a:rPr>
              <a:t>peliciet et harum quiat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e </a:t>
            </a:r>
            <a:r>
              <a:rPr sz="945">
                <a:latin typeface="Montserrat"/>
                <a:cs typeface="Montserrat"/>
              </a:rPr>
              <a:t>nihi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inverum</a:t>
            </a:r>
            <a:r>
              <a:rPr sz="945">
                <a:latin typeface="Montserrat"/>
                <a:cs typeface="Montserrat"/>
              </a:rPr>
              <a:t> ilitatu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oditi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>
                <a:latin typeface="Montserrat"/>
                <a:cs typeface="Montserrat"/>
              </a:rPr>
              <a:t> ma</a:t>
            </a:r>
          </a:p>
          <a:p>
            <a:pPr marL="8573" marR="37290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pa </a:t>
            </a:r>
            <a:r>
              <a:rPr sz="945">
                <a:latin typeface="Montserrat"/>
                <a:cs typeface="Montserrat"/>
              </a:rPr>
              <a:t>cuptio mil </a:t>
            </a:r>
            <a:r>
              <a:rPr sz="945" spc="-3">
                <a:latin typeface="Montserrat"/>
                <a:cs typeface="Montserrat"/>
              </a:rPr>
              <a:t>iuritam </a:t>
            </a:r>
            <a:r>
              <a:rPr sz="945">
                <a:latin typeface="Montserrat"/>
                <a:cs typeface="Montserrat"/>
              </a:rPr>
              <a:t>et </a:t>
            </a:r>
            <a:r>
              <a:rPr sz="945" spc="-7">
                <a:latin typeface="Montserrat"/>
                <a:cs typeface="Montserrat"/>
              </a:rPr>
              <a:t>volo </a:t>
            </a:r>
            <a:r>
              <a:rPr sz="945">
                <a:latin typeface="Montserrat"/>
                <a:cs typeface="Montserrat"/>
              </a:rPr>
              <a:t>quatibe </a:t>
            </a:r>
            <a:r>
              <a:rPr sz="945" spc="-3">
                <a:latin typeface="Montserrat"/>
                <a:cs typeface="Montserrat"/>
              </a:rPr>
              <a:t>rnatur </a:t>
            </a:r>
            <a:r>
              <a:rPr sz="945">
                <a:latin typeface="Montserrat"/>
                <a:cs typeface="Montserrat"/>
              </a:rPr>
              <a:t>sinu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busdam facim </a:t>
            </a:r>
            <a:r>
              <a:rPr sz="945">
                <a:latin typeface="Montserrat"/>
                <a:cs typeface="Montserrat"/>
              </a:rPr>
              <a:t>as ma est dem illaciam </a:t>
            </a:r>
            <a:r>
              <a:rPr sz="945" spc="-3">
                <a:latin typeface="Montserrat"/>
                <a:cs typeface="Montserrat"/>
              </a:rPr>
              <a:t>eaquo </a:t>
            </a:r>
            <a:r>
              <a:rPr sz="945">
                <a:latin typeface="Montserrat"/>
                <a:cs typeface="Montserrat"/>
              </a:rPr>
              <a:t> dese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n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4">
                <a:latin typeface="Montserrat"/>
                <a:cs typeface="Montserrat"/>
              </a:rPr>
              <a:t>exce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tem </a:t>
            </a:r>
            <a:r>
              <a:rPr sz="945">
                <a:latin typeface="Montserrat"/>
                <a:cs typeface="Montserrat"/>
              </a:rPr>
              <a:t>ne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elic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itatur?</a:t>
            </a:r>
          </a:p>
          <a:p>
            <a:pPr marL="8573">
              <a:lnSpc>
                <a:spcPct val="100000"/>
              </a:lnSpc>
              <a:spcBef>
                <a:spcPts val="216"/>
              </a:spcBef>
            </a:pPr>
            <a:r>
              <a:rPr sz="945" spc="-7">
                <a:latin typeface="Montserrat"/>
                <a:cs typeface="Montserrat"/>
              </a:rPr>
              <a:t>Occatem re</a:t>
            </a:r>
            <a:r>
              <a:rPr sz="945" spc="-3">
                <a:latin typeface="Montserrat"/>
                <a:cs typeface="Montserrat"/>
              </a:rPr>
              <a:t> volupta erunt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labo.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um </a:t>
            </a:r>
            <a:r>
              <a:rPr sz="945">
                <a:latin typeface="Montserrat"/>
                <a:cs typeface="Montserrat"/>
              </a:rPr>
              <a:t>nones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A6A1BF43-66F0-4B4C-8A92-5E7037502A00}"/>
              </a:ext>
            </a:extLst>
          </p:cNvPr>
          <p:cNvSpPr txBox="1"/>
          <p:nvPr userDrawn="1"/>
        </p:nvSpPr>
        <p:spPr>
          <a:xfrm>
            <a:off x="7948429" y="-4596829"/>
            <a:ext cx="3536156" cy="2937407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</a:t>
            </a:r>
            <a:r>
              <a:rPr sz="945">
                <a:latin typeface="Montserrat"/>
                <a:cs typeface="Montserrat"/>
              </a:rPr>
              <a:t> &gt;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Montserrat</a:t>
            </a:r>
            <a:r>
              <a:rPr sz="945">
                <a:latin typeface="Montserrat"/>
                <a:cs typeface="Montserrat"/>
              </a:rPr>
              <a:t> /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14 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dam, </a:t>
            </a:r>
            <a:r>
              <a:rPr sz="945" spc="-3">
                <a:latin typeface="Montserrat"/>
                <a:cs typeface="Montserrat"/>
              </a:rPr>
              <a:t>consequatem </a:t>
            </a:r>
            <a:r>
              <a:rPr sz="945">
                <a:latin typeface="Montserrat"/>
                <a:cs typeface="Montserrat"/>
              </a:rPr>
              <a:t>quodit latianis </a:t>
            </a:r>
            <a:r>
              <a:rPr sz="945" spc="-10">
                <a:latin typeface="Montserrat"/>
                <a:cs typeface="Montserrat"/>
              </a:rPr>
              <a:t>exere </a:t>
            </a:r>
            <a:r>
              <a:rPr sz="945">
                <a:latin typeface="Montserrat"/>
                <a:cs typeface="Montserrat"/>
              </a:rPr>
              <a:t>solestr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nt alicabo </a:t>
            </a:r>
            <a:r>
              <a:rPr sz="945" spc="-3">
                <a:latin typeface="Montserrat"/>
                <a:cs typeface="Montserrat"/>
              </a:rPr>
              <a:t>rerspedita </a:t>
            </a:r>
            <a:r>
              <a:rPr sz="945">
                <a:latin typeface="Montserrat"/>
                <a:cs typeface="Montserrat"/>
              </a:rPr>
              <a:t>cuptibusa suntum quasima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gnatem doloreiu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soloreperum</a:t>
            </a:r>
            <a:r>
              <a:rPr sz="945">
                <a:latin typeface="Montserrat"/>
                <a:cs typeface="Montserrat"/>
              </a:rPr>
              <a:t> sa </a:t>
            </a:r>
            <a:r>
              <a:rPr sz="945" spc="-3">
                <a:latin typeface="Montserrat"/>
                <a:cs typeface="Montserrat"/>
              </a:rPr>
              <a:t>cuptatqui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rio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ur, </a:t>
            </a:r>
            <a:r>
              <a:rPr sz="945">
                <a:latin typeface="Montserrat"/>
                <a:cs typeface="Montserrat"/>
              </a:rPr>
              <a:t>suntio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har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ius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onsequat.</a:t>
            </a:r>
          </a:p>
          <a:p>
            <a:pPr marL="8573" marR="34719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Nequi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andiasin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aceaquo </a:t>
            </a:r>
            <a:r>
              <a:rPr sz="945">
                <a:latin typeface="Montserrat"/>
                <a:cs typeface="Montserrat"/>
              </a:rPr>
              <a:t>int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ptaturest </a:t>
            </a:r>
            <a:r>
              <a:rPr sz="945">
                <a:latin typeface="Montserrat"/>
                <a:cs typeface="Montserrat"/>
              </a:rPr>
              <a:t>pe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in </a:t>
            </a:r>
            <a:r>
              <a:rPr sz="945" spc="-3">
                <a:latin typeface="Montserrat"/>
                <a:cs typeface="Montserrat"/>
              </a:rPr>
              <a:t>comnietur? </a:t>
            </a:r>
            <a:r>
              <a:rPr sz="945">
                <a:latin typeface="Montserrat"/>
                <a:cs typeface="Montserrat"/>
              </a:rPr>
              <a:t>Qui sinum alique de doluptaqui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 quas et </a:t>
            </a:r>
            <a:r>
              <a:rPr sz="945" spc="-3">
                <a:latin typeface="Montserrat"/>
                <a:cs typeface="Montserrat"/>
              </a:rPr>
              <a:t>eaquodit, </a:t>
            </a:r>
            <a:r>
              <a:rPr sz="945">
                <a:latin typeface="Montserrat"/>
                <a:cs typeface="Montserrat"/>
              </a:rPr>
              <a:t>cuptatur sequis </a:t>
            </a:r>
            <a:r>
              <a:rPr sz="945" spc="-7">
                <a:latin typeface="Montserrat"/>
                <a:cs typeface="Montserrat"/>
              </a:rPr>
              <a:t>vel </a:t>
            </a:r>
            <a:r>
              <a:rPr sz="945">
                <a:latin typeface="Montserrat"/>
                <a:cs typeface="Montserrat"/>
              </a:rPr>
              <a:t>idundae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e</a:t>
            </a:r>
            <a:r>
              <a:rPr sz="945" spc="-3">
                <a:latin typeface="Montserrat"/>
                <a:cs typeface="Montserrat"/>
              </a:rPr>
              <a:t> ventibusam,</a:t>
            </a:r>
            <a:r>
              <a:rPr sz="945">
                <a:latin typeface="Montserrat"/>
                <a:cs typeface="Montserrat"/>
              </a:rPr>
              <a:t> unt.</a:t>
            </a:r>
          </a:p>
          <a:p>
            <a:pPr marL="8573" marR="32576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Nonsero</a:t>
            </a:r>
            <a:r>
              <a:rPr sz="945" spc="41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or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dis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doluptiore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perrori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quunto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nto</a:t>
            </a:r>
            <a:r>
              <a:rPr sz="945" spc="-3">
                <a:latin typeface="Montserrat"/>
                <a:cs typeface="Montserrat"/>
              </a:rPr>
              <a:t> dolumendiate</a:t>
            </a:r>
            <a:r>
              <a:rPr sz="945">
                <a:latin typeface="Montserrat"/>
                <a:cs typeface="Montserrat"/>
              </a:rPr>
              <a:t> sit, </a:t>
            </a:r>
            <a:r>
              <a:rPr sz="945" spc="-3">
                <a:latin typeface="Montserrat"/>
                <a:cs typeface="Montserrat"/>
              </a:rPr>
              <a:t>soluptatem </a:t>
            </a:r>
            <a:r>
              <a:rPr sz="945" spc="-7">
                <a:latin typeface="Montserrat"/>
                <a:cs typeface="Montserrat"/>
              </a:rPr>
              <a:t>excessit</a:t>
            </a:r>
            <a:r>
              <a:rPr sz="945">
                <a:latin typeface="Montserrat"/>
                <a:cs typeface="Montserrat"/>
              </a:rPr>
              <a:t> qui </a:t>
            </a:r>
            <a:r>
              <a:rPr sz="945" spc="-7">
                <a:latin typeface="Montserrat"/>
                <a:cs typeface="Montserrat"/>
              </a:rPr>
              <a:t>tem-</a:t>
            </a:r>
            <a:endParaRPr sz="945">
              <a:latin typeface="Montserrat"/>
              <a:cs typeface="Montserrat"/>
            </a:endParaRPr>
          </a:p>
          <a:p>
            <a:pPr marL="8573" marR="1457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per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beat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ss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itae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ratenita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t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et aut</a:t>
            </a:r>
            <a:r>
              <a:rPr sz="945" spc="-3">
                <a:latin typeface="Montserrat"/>
                <a:cs typeface="Montserrat"/>
              </a:rPr>
              <a:t> faccatur?</a:t>
            </a:r>
            <a:endParaRPr sz="945">
              <a:latin typeface="Montserrat"/>
              <a:cs typeface="Montserrat"/>
            </a:endParaRPr>
          </a:p>
          <a:p>
            <a:pPr marL="8573" marR="87868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Genderes </a:t>
            </a:r>
            <a:r>
              <a:rPr sz="945">
                <a:latin typeface="Montserrat"/>
                <a:cs typeface="Montserrat"/>
              </a:rPr>
              <a:t>sitam, none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endipit </a:t>
            </a:r>
            <a:r>
              <a:rPr sz="945">
                <a:latin typeface="Montserrat"/>
                <a:cs typeface="Montserrat"/>
              </a:rPr>
              <a:t>debit aut fuga.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cit</a:t>
            </a:r>
            <a:r>
              <a:rPr sz="945" spc="-3">
                <a:latin typeface="Montserrat"/>
                <a:cs typeface="Montserrat"/>
              </a:rPr>
              <a:t> voluptatis</a:t>
            </a:r>
            <a:r>
              <a:rPr sz="945">
                <a:latin typeface="Montserrat"/>
                <a:cs typeface="Montserrat"/>
              </a:rPr>
              <a:t> asi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rendam explabo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accaectur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inumquodi quae </a:t>
            </a:r>
            <a:r>
              <a:rPr sz="945" spc="-3">
                <a:latin typeface="Montserrat"/>
                <a:cs typeface="Montserrat"/>
              </a:rPr>
              <a:t>odiaspero </a:t>
            </a:r>
            <a:r>
              <a:rPr sz="945" spc="-7">
                <a:latin typeface="Montserrat"/>
                <a:cs typeface="Montserrat"/>
              </a:rPr>
              <a:t>esto </a:t>
            </a:r>
            <a:r>
              <a:rPr sz="945">
                <a:latin typeface="Montserrat"/>
                <a:cs typeface="Montserrat"/>
              </a:rPr>
              <a:t>id mo </a:t>
            </a:r>
            <a:r>
              <a:rPr sz="945" spc="-7">
                <a:latin typeface="Montserrat"/>
                <a:cs typeface="Montserrat"/>
              </a:rPr>
              <a:t>tem </a:t>
            </a:r>
            <a:r>
              <a:rPr sz="945">
                <a:latin typeface="Montserrat"/>
                <a:cs typeface="Montserrat"/>
              </a:rPr>
              <a:t>nob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ia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us por </a:t>
            </a:r>
            <a:r>
              <a:rPr sz="945" spc="-3">
                <a:latin typeface="Montserrat"/>
                <a:cs typeface="Montserrat"/>
              </a:rPr>
              <a:t>rest, </a:t>
            </a:r>
            <a:r>
              <a:rPr sz="945">
                <a:latin typeface="Montserrat"/>
                <a:cs typeface="Montserrat"/>
              </a:rPr>
              <a:t>ut </a:t>
            </a:r>
            <a:r>
              <a:rPr sz="945" spc="-3">
                <a:latin typeface="Montserrat"/>
                <a:cs typeface="Montserrat"/>
              </a:rPr>
              <a:t>rehene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ect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.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1AAD0362-39C1-AF47-974F-07E65F2E614D}"/>
              </a:ext>
            </a:extLst>
          </p:cNvPr>
          <p:cNvSpPr/>
          <p:nvPr userDrawn="1"/>
        </p:nvSpPr>
        <p:spPr>
          <a:xfrm>
            <a:off x="76583" y="-4860192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1C786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DB9DD2CC-77E2-9243-81D0-1AFB14378475}"/>
              </a:ext>
            </a:extLst>
          </p:cNvPr>
          <p:cNvSpPr/>
          <p:nvPr userDrawn="1"/>
        </p:nvSpPr>
        <p:spPr>
          <a:xfrm>
            <a:off x="4014038" y="-4856069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3A16EAAE-8C92-934F-BADB-0F21C3BF8935}"/>
              </a:ext>
            </a:extLst>
          </p:cNvPr>
          <p:cNvSpPr/>
          <p:nvPr userDrawn="1"/>
        </p:nvSpPr>
        <p:spPr>
          <a:xfrm>
            <a:off x="7929149" y="-4846838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" name="Holder 2">
            <a:extLst>
              <a:ext uri="{FF2B5EF4-FFF2-40B4-BE49-F238E27FC236}">
                <a16:creationId xmlns:a16="http://schemas.microsoft.com/office/drawing/2014/main" id="{FECD3433-65F0-3B42-9612-01BF52750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2900"/>
            <a:ext cx="10650355" cy="62324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4050" b="1" i="0">
                <a:solidFill>
                  <a:schemeClr val="tx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7B09DAE7-2388-C347-BCEB-734720B431A6}"/>
              </a:ext>
            </a:extLst>
          </p:cNvPr>
          <p:cNvSpPr/>
          <p:nvPr userDrawn="1"/>
        </p:nvSpPr>
        <p:spPr>
          <a:xfrm>
            <a:off x="381000" y="2591584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1C786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E7C9AD8D-357B-6341-AF9D-214785F51F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203237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27" name="Holder 3">
            <a:extLst>
              <a:ext uri="{FF2B5EF4-FFF2-40B4-BE49-F238E27FC236}">
                <a16:creationId xmlns:a16="http://schemas.microsoft.com/office/drawing/2014/main" id="{CB072564-2C08-D142-AE94-881776506A3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232764" y="2821117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8" name="object 13">
            <a:extLst>
              <a:ext uri="{FF2B5EF4-FFF2-40B4-BE49-F238E27FC236}">
                <a16:creationId xmlns:a16="http://schemas.microsoft.com/office/drawing/2014/main" id="{390FC6E3-E7DF-7349-820B-62C9B2FE4B59}"/>
              </a:ext>
            </a:extLst>
          </p:cNvPr>
          <p:cNvSpPr/>
          <p:nvPr userDrawn="1"/>
        </p:nvSpPr>
        <p:spPr>
          <a:xfrm>
            <a:off x="4212433" y="2607754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1369390D-C134-F946-8C9D-A4A786C6787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56932" y="281956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30" name="object 14">
            <a:extLst>
              <a:ext uri="{FF2B5EF4-FFF2-40B4-BE49-F238E27FC236}">
                <a16:creationId xmlns:a16="http://schemas.microsoft.com/office/drawing/2014/main" id="{41DE161D-AB82-E24F-A775-55ECD2A5E65A}"/>
              </a:ext>
            </a:extLst>
          </p:cNvPr>
          <p:cNvSpPr/>
          <p:nvPr userDrawn="1"/>
        </p:nvSpPr>
        <p:spPr>
          <a:xfrm>
            <a:off x="8193883" y="2608836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2" name="Espace réservé du texte 24">
            <a:extLst>
              <a:ext uri="{FF2B5EF4-FFF2-40B4-BE49-F238E27FC236}">
                <a16:creationId xmlns:a16="http://schemas.microsoft.com/office/drawing/2014/main" id="{5F55C061-0C43-C141-B996-52017CE3BF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04813" y="2046826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3" name="Espace réservé du texte 24">
            <a:extLst>
              <a:ext uri="{FF2B5EF4-FFF2-40B4-BE49-F238E27FC236}">
                <a16:creationId xmlns:a16="http://schemas.microsoft.com/office/drawing/2014/main" id="{367809F1-48EC-7543-A2D7-ADEFBBD52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5577" y="205869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algn="r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8573" marR="0" lvl="0" indent="0" algn="r" defTabSz="61722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1809465C-46D3-4354-AA80-5F894446B48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361269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nn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>
              <a:solidFill>
                <a:schemeClr val="bg1"/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2728" y="279324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FC9089E1-5851-6945-9B5F-503F325A8923}"/>
              </a:ext>
            </a:extLst>
          </p:cNvPr>
          <p:cNvSpPr txBox="1"/>
          <p:nvPr userDrawn="1"/>
        </p:nvSpPr>
        <p:spPr>
          <a:xfrm>
            <a:off x="20053" y="-1082825"/>
            <a:ext cx="1982153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de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la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présentation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p.3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3D017B9A-1C12-3246-96BD-E2D983CA0721}"/>
              </a:ext>
            </a:extLst>
          </p:cNvPr>
          <p:cNvSpPr txBox="1"/>
          <p:nvPr userDrawn="1"/>
        </p:nvSpPr>
        <p:spPr>
          <a:xfrm>
            <a:off x="11139709" y="-1082825"/>
            <a:ext cx="634364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1</a:t>
            </a:r>
            <a:r>
              <a:rPr sz="945" b="1" spc="-14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</a:t>
            </a:r>
            <a:r>
              <a:rPr sz="945" b="1" spc="7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2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21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52FAF67C-7588-B944-A36F-AAFC6F631933}"/>
              </a:ext>
            </a:extLst>
          </p:cNvPr>
          <p:cNvSpPr/>
          <p:nvPr userDrawn="1"/>
        </p:nvSpPr>
        <p:spPr>
          <a:xfrm>
            <a:off x="11031355" y="-7347042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6"/>
                </a:lnTo>
                <a:lnTo>
                  <a:pt x="483023" y="409199"/>
                </a:lnTo>
                <a:lnTo>
                  <a:pt x="483031" y="410937"/>
                </a:lnTo>
                <a:lnTo>
                  <a:pt x="478538" y="472829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5" y="458619"/>
                </a:lnTo>
                <a:lnTo>
                  <a:pt x="24099" y="514159"/>
                </a:lnTo>
                <a:lnTo>
                  <a:pt x="54063" y="569315"/>
                </a:lnTo>
                <a:lnTo>
                  <a:pt x="74474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3" y="475242"/>
                </a:lnTo>
                <a:lnTo>
                  <a:pt x="63376" y="443185"/>
                </a:lnTo>
                <a:lnTo>
                  <a:pt x="58671" y="410937"/>
                </a:lnTo>
                <a:lnTo>
                  <a:pt x="57124" y="379552"/>
                </a:lnTo>
                <a:lnTo>
                  <a:pt x="60457" y="333636"/>
                </a:lnTo>
                <a:lnTo>
                  <a:pt x="70230" y="289234"/>
                </a:lnTo>
                <a:lnTo>
                  <a:pt x="86102" y="246949"/>
                </a:lnTo>
                <a:lnTo>
                  <a:pt x="107732" y="207381"/>
                </a:lnTo>
                <a:lnTo>
                  <a:pt x="134780" y="171135"/>
                </a:lnTo>
                <a:lnTo>
                  <a:pt x="166906" y="138813"/>
                </a:lnTo>
                <a:lnTo>
                  <a:pt x="203769" y="111016"/>
                </a:lnTo>
                <a:lnTo>
                  <a:pt x="245028" y="88347"/>
                </a:lnTo>
                <a:lnTo>
                  <a:pt x="290344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2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2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1" y="379552"/>
                </a:lnTo>
                <a:lnTo>
                  <a:pt x="125508" y="390389"/>
                </a:lnTo>
                <a:lnTo>
                  <a:pt x="132759" y="398167"/>
                </a:lnTo>
                <a:lnTo>
                  <a:pt x="142496" y="402501"/>
                </a:lnTo>
                <a:lnTo>
                  <a:pt x="154050" y="403009"/>
                </a:lnTo>
                <a:lnTo>
                  <a:pt x="164308" y="398738"/>
                </a:lnTo>
                <a:lnTo>
                  <a:pt x="171788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2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CA1E459-A765-C64A-8647-B851D2404055}"/>
              </a:ext>
            </a:extLst>
          </p:cNvPr>
          <p:cNvSpPr txBox="1">
            <a:spLocks/>
          </p:cNvSpPr>
          <p:nvPr userDrawn="1"/>
        </p:nvSpPr>
        <p:spPr>
          <a:xfrm>
            <a:off x="98634" y="-7579079"/>
            <a:ext cx="7746683" cy="1240083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>
            <a:lvl1pPr>
              <a:defRPr sz="9000" b="1" i="0">
                <a:solidFill>
                  <a:schemeClr val="bg1"/>
                </a:solidFill>
                <a:latin typeface="Baloo 2"/>
                <a:ea typeface="+mj-ea"/>
                <a:cs typeface="Baloo 2"/>
              </a:defRPr>
            </a:lvl1pPr>
          </a:lstStyle>
          <a:p>
            <a:pPr marL="8573" marR="3429">
              <a:lnSpc>
                <a:spcPts val="4725"/>
              </a:lnSpc>
              <a:spcBef>
                <a:spcPts val="270"/>
              </a:spcBef>
              <a:tabLst>
                <a:tab pos="1209151" algn="l"/>
                <a:tab pos="1250299" algn="l"/>
                <a:tab pos="1477470" algn="l"/>
                <a:tab pos="2062544" algn="l"/>
                <a:tab pos="2432447" algn="l"/>
                <a:tab pos="2906078" algn="l"/>
                <a:tab pos="3926205" algn="l"/>
                <a:tab pos="4058650" algn="l"/>
                <a:tab pos="4333399" algn="l"/>
                <a:tab pos="5768007" algn="l"/>
                <a:tab pos="6465380" algn="l"/>
              </a:tabLst>
            </a:pPr>
            <a:r>
              <a:rPr lang="fr-FR" sz="4050" kern="0" spc="-20">
                <a:solidFill>
                  <a:srgbClr val="00C9FF"/>
                </a:solidFill>
              </a:rPr>
              <a:t>Titre	</a:t>
            </a:r>
            <a:r>
              <a:rPr lang="fr-FR" sz="4050" kern="0">
                <a:solidFill>
                  <a:srgbClr val="00C9FF"/>
                </a:solidFill>
              </a:rPr>
              <a:t>sur	2	lignes	maximum </a:t>
            </a:r>
            <a:r>
              <a:rPr lang="fr-FR" sz="4050" kern="0" spc="3">
                <a:solidFill>
                  <a:srgbClr val="00C9FF"/>
                </a:solidFill>
              </a:rPr>
              <a:t> </a:t>
            </a:r>
            <a:r>
              <a:rPr lang="fr-FR" sz="4050" kern="0" spc="-68">
                <a:solidFill>
                  <a:srgbClr val="00C9FF"/>
                </a:solidFill>
              </a:rPr>
              <a:t>T</a:t>
            </a:r>
            <a:r>
              <a:rPr lang="fr-FR" sz="4050" kern="0" spc="-30">
                <a:solidFill>
                  <a:srgbClr val="00C9FF"/>
                </a:solidFill>
              </a:rPr>
              <a:t>y</a:t>
            </a:r>
            <a:r>
              <a:rPr lang="fr-FR" sz="4050" kern="0">
                <a:solidFill>
                  <a:srgbClr val="00C9FF"/>
                </a:solidFill>
              </a:rPr>
              <a:t>po		:	</a:t>
            </a:r>
            <a:r>
              <a:rPr lang="fr-FR" sz="4050" kern="0" err="1">
                <a:solidFill>
                  <a:srgbClr val="00C9FF"/>
                </a:solidFill>
              </a:rPr>
              <a:t>Baloo</a:t>
            </a:r>
            <a:r>
              <a:rPr lang="fr-FR" sz="4050" kern="0">
                <a:solidFill>
                  <a:srgbClr val="00C9FF"/>
                </a:solidFill>
              </a:rPr>
              <a:t>	</a:t>
            </a:r>
            <a:r>
              <a:rPr lang="fr-FR" sz="4050" kern="0" spc="-14">
                <a:solidFill>
                  <a:srgbClr val="00C9FF"/>
                </a:solidFill>
              </a:rPr>
              <a:t>B</a:t>
            </a:r>
            <a:r>
              <a:rPr lang="fr-FR" sz="4050" kern="0">
                <a:solidFill>
                  <a:srgbClr val="00C9FF"/>
                </a:solidFill>
              </a:rPr>
              <a:t>old	/	</a:t>
            </a:r>
            <a:r>
              <a:rPr lang="fr-FR" sz="4050" kern="0" spc="-68">
                <a:solidFill>
                  <a:srgbClr val="00C9FF"/>
                </a:solidFill>
              </a:rPr>
              <a:t>C</a:t>
            </a:r>
            <a:r>
              <a:rPr lang="fr-FR" sz="4050" kern="0">
                <a:solidFill>
                  <a:srgbClr val="00C9FF"/>
                </a:solidFill>
              </a:rPr>
              <a:t>o</a:t>
            </a:r>
            <a:r>
              <a:rPr lang="fr-FR" sz="4050" kern="0" spc="-37">
                <a:solidFill>
                  <a:srgbClr val="00C9FF"/>
                </a:solidFill>
              </a:rPr>
              <a:t>r</a:t>
            </a:r>
            <a:r>
              <a:rPr lang="fr-FR" sz="4050" kern="0">
                <a:solidFill>
                  <a:srgbClr val="00C9FF"/>
                </a:solidFill>
              </a:rPr>
              <a:t>ps	60	pt</a:t>
            </a:r>
            <a:endParaRPr lang="fr-FR" sz="4050" kern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4229BE28-591F-0541-BB08-8FC47EA71F6B}"/>
              </a:ext>
            </a:extLst>
          </p:cNvPr>
          <p:cNvSpPr txBox="1"/>
          <p:nvPr userDrawn="1"/>
        </p:nvSpPr>
        <p:spPr>
          <a:xfrm>
            <a:off x="96253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878289DC-09BB-E44C-A1A4-7E9A570F21E3}"/>
              </a:ext>
            </a:extLst>
          </p:cNvPr>
          <p:cNvSpPr txBox="1"/>
          <p:nvPr userDrawn="1"/>
        </p:nvSpPr>
        <p:spPr>
          <a:xfrm>
            <a:off x="401851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BC923298-615B-8B45-9FFC-58F6932842F4}"/>
              </a:ext>
            </a:extLst>
          </p:cNvPr>
          <p:cNvSpPr txBox="1"/>
          <p:nvPr userDrawn="1"/>
        </p:nvSpPr>
        <p:spPr>
          <a:xfrm>
            <a:off x="792054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E3972B00-7B11-414F-8999-E7F7CA46C692}"/>
              </a:ext>
            </a:extLst>
          </p:cNvPr>
          <p:cNvSpPr txBox="1"/>
          <p:nvPr userDrawn="1"/>
        </p:nvSpPr>
        <p:spPr>
          <a:xfrm>
            <a:off x="98647" y="-4598269"/>
            <a:ext cx="3540443" cy="2764348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79296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ligen tiorion</a:t>
            </a:r>
            <a:r>
              <a:rPr sz="945">
                <a:latin typeface="Montserrat"/>
                <a:cs typeface="Montserrat"/>
              </a:rPr>
              <a:t> estrupt</a:t>
            </a:r>
            <a:r>
              <a:rPr sz="945" spc="-3">
                <a:latin typeface="Montserrat"/>
                <a:cs typeface="Montserrat"/>
              </a:rPr>
              <a:t> urenia</a:t>
            </a:r>
            <a:r>
              <a:rPr sz="945">
                <a:latin typeface="Montserrat"/>
                <a:cs typeface="Montserrat"/>
              </a:rPr>
              <a:t> se</a:t>
            </a:r>
            <a:r>
              <a:rPr sz="945" spc="-3">
                <a:latin typeface="Montserrat"/>
                <a:cs typeface="Montserrat"/>
              </a:rPr>
              <a:t> pore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or</a:t>
            </a:r>
            <a:r>
              <a:rPr sz="945" spc="-3">
                <a:latin typeface="Montserrat"/>
                <a:cs typeface="Montserrat"/>
              </a:rPr>
              <a:t> roriandit peliquaero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it</a:t>
            </a:r>
            <a:r>
              <a:rPr sz="945" spc="-3">
                <a:latin typeface="Montserrat"/>
                <a:cs typeface="Montserrat"/>
              </a:rPr>
              <a:t> veles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qui</a:t>
            </a:r>
          </a:p>
          <a:p>
            <a:pPr marL="8573" marR="3429" algn="just">
              <a:lnSpc>
                <a:spcPct val="119100"/>
              </a:lnSpc>
            </a:pPr>
            <a:r>
              <a:rPr sz="945" spc="10">
                <a:latin typeface="Montserrat"/>
                <a:cs typeface="Montserrat"/>
              </a:rPr>
              <a:t>offici </a:t>
            </a:r>
            <a:r>
              <a:rPr sz="945" spc="-7">
                <a:latin typeface="Montserrat"/>
                <a:cs typeface="Montserrat"/>
              </a:rPr>
              <a:t>autet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nda </a:t>
            </a:r>
            <a:r>
              <a:rPr sz="945">
                <a:latin typeface="Montserrat"/>
                <a:cs typeface="Montserrat"/>
              </a:rPr>
              <a:t>ipitat ut quas dolessum </a:t>
            </a:r>
            <a:r>
              <a:rPr sz="945" spc="-10">
                <a:latin typeface="Montserrat"/>
                <a:cs typeface="Montserrat"/>
              </a:rPr>
              <a:t>exero- </a:t>
            </a:r>
            <a:r>
              <a:rPr sz="945" spc="-24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vitist ipicipicae </a:t>
            </a:r>
            <a:r>
              <a:rPr sz="945" spc="-3">
                <a:latin typeface="Montserrat"/>
                <a:cs typeface="Montserrat"/>
              </a:rPr>
              <a:t>iusapero </a:t>
            </a:r>
            <a:r>
              <a:rPr sz="945">
                <a:latin typeface="Montserrat"/>
                <a:cs typeface="Montserrat"/>
              </a:rPr>
              <a:t>iumquos ant </a:t>
            </a:r>
            <a:r>
              <a:rPr sz="945" spc="-10">
                <a:latin typeface="Montserrat"/>
                <a:cs typeface="Montserrat"/>
              </a:rPr>
              <a:t>verio. </a:t>
            </a:r>
            <a:r>
              <a:rPr sz="945" spc="-3">
                <a:latin typeface="Montserrat"/>
                <a:cs typeface="Montserrat"/>
              </a:rPr>
              <a:t>Ictem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mi,</a:t>
            </a:r>
            <a:r>
              <a:rPr sz="945" spc="-3">
                <a:latin typeface="Montserrat"/>
                <a:cs typeface="Montserrat"/>
              </a:rPr>
              <a:t> saeriatentis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atur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>
                <a:latin typeface="Montserrat"/>
                <a:cs typeface="Montserrat"/>
              </a:rPr>
              <a:t> harunt.</a:t>
            </a:r>
          </a:p>
          <a:p>
            <a:pPr marL="8573" marR="3343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Ent u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eaqui </a:t>
            </a:r>
            <a:r>
              <a:rPr sz="945">
                <a:latin typeface="Montserrat"/>
                <a:cs typeface="Montserrat"/>
              </a:rPr>
              <a:t>odic </a:t>
            </a:r>
            <a:r>
              <a:rPr sz="945" spc="-7">
                <a:latin typeface="Montserrat"/>
                <a:cs typeface="Montserrat"/>
              </a:rPr>
              <a:t>tenim </a:t>
            </a:r>
            <a:r>
              <a:rPr sz="945">
                <a:latin typeface="Montserrat"/>
                <a:cs typeface="Montserrat"/>
              </a:rPr>
              <a:t>ullicia epudam </a:t>
            </a:r>
            <a:r>
              <a:rPr sz="945" spc="-7">
                <a:latin typeface="Montserrat"/>
                <a:cs typeface="Montserrat"/>
              </a:rPr>
              <a:t>expe 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undam aut alit quat quam </a:t>
            </a:r>
            <a:r>
              <a:rPr sz="945" spc="-7">
                <a:latin typeface="Montserrat"/>
                <a:cs typeface="Montserrat"/>
              </a:rPr>
              <a:t>ute velliatem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prorum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 quis aut qui odit il et dunt </a:t>
            </a:r>
            <a:r>
              <a:rPr sz="945" spc="-3">
                <a:latin typeface="Montserrat"/>
                <a:cs typeface="Montserrat"/>
              </a:rPr>
              <a:t>volupta </a:t>
            </a:r>
            <a:r>
              <a:rPr sz="945">
                <a:latin typeface="Montserrat"/>
                <a:cs typeface="Montserrat"/>
              </a:rPr>
              <a:t>sae </a:t>
            </a:r>
            <a:r>
              <a:rPr sz="945" spc="-3">
                <a:latin typeface="Montserrat"/>
                <a:cs typeface="Montserrat"/>
              </a:rPr>
              <a:t>volla </a:t>
            </a:r>
            <a:r>
              <a:rPr sz="945">
                <a:latin typeface="Montserrat"/>
                <a:cs typeface="Montserrat"/>
              </a:rPr>
              <a:t>ne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lliquas as </a:t>
            </a:r>
            <a:r>
              <a:rPr sz="945" spc="-3">
                <a:latin typeface="Montserrat"/>
                <a:cs typeface="Montserrat"/>
              </a:rPr>
              <a:t>velitas </a:t>
            </a:r>
            <a:r>
              <a:rPr sz="945">
                <a:latin typeface="Montserrat"/>
                <a:cs typeface="Montserrat"/>
              </a:rPr>
              <a:t>autatibus non </a:t>
            </a:r>
            <a:r>
              <a:rPr sz="945" spc="-3">
                <a:latin typeface="Montserrat"/>
                <a:cs typeface="Montserrat"/>
              </a:rPr>
              <a:t>etur, </a:t>
            </a:r>
            <a:r>
              <a:rPr sz="945">
                <a:latin typeface="Montserrat"/>
                <a:cs typeface="Montserrat"/>
              </a:rPr>
              <a:t>iunt </a:t>
            </a:r>
            <a:r>
              <a:rPr sz="945" spc="-3">
                <a:latin typeface="Montserrat"/>
                <a:cs typeface="Montserrat"/>
              </a:rPr>
              <a:t>quuntem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bo. </a:t>
            </a:r>
            <a:r>
              <a:rPr sz="945">
                <a:latin typeface="Montserrat"/>
                <a:cs typeface="Montserrat"/>
              </a:rPr>
              <a:t>Nam, audantist, sunt aut </a:t>
            </a:r>
            <a:r>
              <a:rPr sz="945" spc="-3">
                <a:latin typeface="Montserrat"/>
                <a:cs typeface="Montserrat"/>
              </a:rPr>
              <a:t>expla </a:t>
            </a:r>
            <a:r>
              <a:rPr sz="945">
                <a:latin typeface="Montserrat"/>
                <a:cs typeface="Montserrat"/>
              </a:rPr>
              <a:t>dis magna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ullaboria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land unditatio.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dol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ic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10">
                <a:latin typeface="Montserrat"/>
                <a:cs typeface="Montserrat"/>
              </a:rPr>
              <a:t>offic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,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,</a:t>
            </a:r>
            <a:r>
              <a:rPr sz="945" spc="-3">
                <a:latin typeface="Montserrat"/>
                <a:cs typeface="Montserrat"/>
              </a:rPr>
              <a:t> vellias </a:t>
            </a:r>
            <a:r>
              <a:rPr sz="945">
                <a:latin typeface="Montserrat"/>
                <a:cs typeface="Montserrat"/>
              </a:rPr>
              <a:t>e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umquo </a:t>
            </a:r>
            <a:r>
              <a:rPr sz="945" spc="-236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itibu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stota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</a:t>
            </a:r>
            <a:r>
              <a:rPr sz="945" spc="-3">
                <a:latin typeface="Montserrat"/>
                <a:cs typeface="Montserrat"/>
              </a:rPr>
              <a:t> prae </a:t>
            </a:r>
            <a:r>
              <a:rPr sz="945">
                <a:latin typeface="Montserrat"/>
                <a:cs typeface="Montserrat"/>
              </a:rPr>
              <a:t>quibusa</a:t>
            </a:r>
            <a:r>
              <a:rPr sz="945" spc="-3">
                <a:latin typeface="Montserrat"/>
                <a:cs typeface="Montserrat"/>
              </a:rPr>
              <a:t> doloris </a:t>
            </a:r>
            <a:r>
              <a:rPr sz="945">
                <a:latin typeface="Montserrat"/>
                <a:cs typeface="Montserrat"/>
              </a:rPr>
              <a:t>sa </a:t>
            </a:r>
            <a:r>
              <a:rPr sz="945" spc="-3">
                <a:latin typeface="Montserrat"/>
                <a:cs typeface="Montserrat"/>
              </a:rPr>
              <a:t>volupta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ate</a:t>
            </a:r>
            <a:r>
              <a:rPr sz="945" spc="-3">
                <a:latin typeface="Montserrat"/>
                <a:cs typeface="Montserrat"/>
              </a:rPr>
              <a:t> rerisquati </a:t>
            </a:r>
            <a:r>
              <a:rPr sz="945">
                <a:latin typeface="Montserrat"/>
                <a:cs typeface="Montserrat"/>
              </a:rPr>
              <a:t>aliqu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atet</a:t>
            </a:r>
            <a:r>
              <a:rPr sz="945">
                <a:latin typeface="Montserrat"/>
                <a:cs typeface="Montserrat"/>
              </a:rPr>
              <a:t> dolliquamet</a:t>
            </a:r>
            <a:r>
              <a:rPr sz="945" spc="-3">
                <a:latin typeface="Montserrat"/>
                <a:cs typeface="Montserrat"/>
              </a:rPr>
              <a:t> dolorese- </a:t>
            </a:r>
            <a:r>
              <a:rPr sz="945">
                <a:latin typeface="Montserrat"/>
                <a:cs typeface="Montserrat"/>
              </a:rPr>
              <a:t> qu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ons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imus</a:t>
            </a: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id="{A4364D2F-1783-3443-A250-33A7AFD1EA6A}"/>
              </a:ext>
            </a:extLst>
          </p:cNvPr>
          <p:cNvSpPr txBox="1"/>
          <p:nvPr userDrawn="1"/>
        </p:nvSpPr>
        <p:spPr>
          <a:xfrm>
            <a:off x="4020205" y="-4597548"/>
            <a:ext cx="3477101" cy="2602572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ccusam </a:t>
            </a:r>
            <a:r>
              <a:rPr sz="945">
                <a:latin typeface="Montserrat"/>
                <a:cs typeface="Montserrat"/>
              </a:rPr>
              <a:t>nos es intur sequam </a:t>
            </a:r>
            <a:r>
              <a:rPr sz="945" spc="-7">
                <a:latin typeface="Montserrat"/>
                <a:cs typeface="Montserrat"/>
              </a:rPr>
              <a:t>atem </a:t>
            </a:r>
            <a:r>
              <a:rPr sz="945">
                <a:latin typeface="Montserrat"/>
                <a:cs typeface="Montserrat"/>
              </a:rPr>
              <a:t>aut lanis a s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i </a:t>
            </a:r>
            <a:r>
              <a:rPr sz="945">
                <a:latin typeface="Montserrat"/>
                <a:cs typeface="Montserrat"/>
              </a:rPr>
              <a:t>ullupt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oreperchit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scia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empo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qua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t,</a:t>
            </a:r>
            <a:r>
              <a:rPr sz="945" spc="-7">
                <a:latin typeface="Montserrat"/>
                <a:cs typeface="Montserrat"/>
              </a:rPr>
              <a:t> te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ectatati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iqui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agn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a </a:t>
            </a:r>
            <a:r>
              <a:rPr sz="945" spc="-3">
                <a:latin typeface="Montserrat"/>
                <a:cs typeface="Montserrat"/>
              </a:rPr>
              <a:t>solorero </a:t>
            </a:r>
            <a:r>
              <a:rPr sz="945">
                <a:latin typeface="Montserrat"/>
                <a:cs typeface="Montserrat"/>
              </a:rPr>
              <a:t>modist atumque enimil ium quam </a:t>
            </a:r>
            <a:r>
              <a:rPr sz="945" spc="-3">
                <a:latin typeface="Montserrat"/>
                <a:cs typeface="Montserrat"/>
              </a:rPr>
              <a:t>ari </a:t>
            </a:r>
            <a:r>
              <a:rPr sz="945">
                <a:latin typeface="Montserrat"/>
                <a:cs typeface="Montserrat"/>
              </a:rPr>
              <a:t> nitas culla ne </a:t>
            </a:r>
            <a:r>
              <a:rPr sz="945" spc="-7">
                <a:latin typeface="Montserrat"/>
                <a:cs typeface="Montserrat"/>
              </a:rPr>
              <a:t>ra </a:t>
            </a:r>
            <a:r>
              <a:rPr sz="945" spc="-3">
                <a:latin typeface="Montserrat"/>
                <a:cs typeface="Montserrat"/>
              </a:rPr>
              <a:t>comnisint, </a:t>
            </a:r>
            <a:r>
              <a:rPr sz="945">
                <a:latin typeface="Montserrat"/>
                <a:cs typeface="Montserrat"/>
              </a:rPr>
              <a:t>ut hitatus a </a:t>
            </a:r>
            <a:r>
              <a:rPr sz="945" spc="-3">
                <a:latin typeface="Montserrat"/>
                <a:cs typeface="Montserrat"/>
              </a:rPr>
              <a:t>voluptas pa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emque </a:t>
            </a:r>
            <a:r>
              <a:rPr sz="945">
                <a:latin typeface="Montserrat"/>
                <a:cs typeface="Montserrat"/>
              </a:rPr>
              <a:t>nonsendis ni berum sed moluptat et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t as </a:t>
            </a:r>
            <a:r>
              <a:rPr sz="945" spc="-3">
                <a:latin typeface="Montserrat"/>
                <a:cs typeface="Montserrat"/>
              </a:rPr>
              <a:t>volor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olupid untur, </a:t>
            </a:r>
            <a:r>
              <a:rPr sz="945">
                <a:latin typeface="Montserrat"/>
                <a:cs typeface="Montserrat"/>
              </a:rPr>
              <a:t>quiae </a:t>
            </a:r>
            <a:r>
              <a:rPr sz="945" spc="-3">
                <a:latin typeface="Montserrat"/>
                <a:cs typeface="Montserrat"/>
              </a:rPr>
              <a:t>verum fugite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arum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>
                <a:latin typeface="Montserrat"/>
                <a:cs typeface="Montserrat"/>
              </a:rPr>
              <a:t> 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pi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libus 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di</a:t>
            </a:r>
            <a:r>
              <a:rPr sz="945" spc="-3">
                <a:latin typeface="Montserrat"/>
                <a:cs typeface="Montserrat"/>
              </a:rPr>
              <a:t> beaquam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orest, </a:t>
            </a:r>
            <a:r>
              <a:rPr sz="945">
                <a:latin typeface="Montserrat"/>
                <a:cs typeface="Montserrat"/>
              </a:rPr>
              <a:t>senihilitio </a:t>
            </a:r>
            <a:r>
              <a:rPr sz="945" spc="-3">
                <a:latin typeface="Montserrat"/>
                <a:cs typeface="Montserrat"/>
              </a:rPr>
              <a:t>beratibus </a:t>
            </a:r>
            <a:r>
              <a:rPr sz="945">
                <a:latin typeface="Montserrat"/>
                <a:cs typeface="Montserrat"/>
              </a:rPr>
              <a:t>peliciet et harum quiat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e </a:t>
            </a:r>
            <a:r>
              <a:rPr sz="945">
                <a:latin typeface="Montserrat"/>
                <a:cs typeface="Montserrat"/>
              </a:rPr>
              <a:t>nihi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inverum</a:t>
            </a:r>
            <a:r>
              <a:rPr sz="945">
                <a:latin typeface="Montserrat"/>
                <a:cs typeface="Montserrat"/>
              </a:rPr>
              <a:t> ilitatu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oditi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>
                <a:latin typeface="Montserrat"/>
                <a:cs typeface="Montserrat"/>
              </a:rPr>
              <a:t> ma</a:t>
            </a:r>
          </a:p>
          <a:p>
            <a:pPr marL="8573" marR="37290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pa </a:t>
            </a:r>
            <a:r>
              <a:rPr sz="945">
                <a:latin typeface="Montserrat"/>
                <a:cs typeface="Montserrat"/>
              </a:rPr>
              <a:t>cuptio mil </a:t>
            </a:r>
            <a:r>
              <a:rPr sz="945" spc="-3">
                <a:latin typeface="Montserrat"/>
                <a:cs typeface="Montserrat"/>
              </a:rPr>
              <a:t>iuritam </a:t>
            </a:r>
            <a:r>
              <a:rPr sz="945">
                <a:latin typeface="Montserrat"/>
                <a:cs typeface="Montserrat"/>
              </a:rPr>
              <a:t>et </a:t>
            </a:r>
            <a:r>
              <a:rPr sz="945" spc="-7">
                <a:latin typeface="Montserrat"/>
                <a:cs typeface="Montserrat"/>
              </a:rPr>
              <a:t>volo </a:t>
            </a:r>
            <a:r>
              <a:rPr sz="945">
                <a:latin typeface="Montserrat"/>
                <a:cs typeface="Montserrat"/>
              </a:rPr>
              <a:t>quatibe </a:t>
            </a:r>
            <a:r>
              <a:rPr sz="945" spc="-3">
                <a:latin typeface="Montserrat"/>
                <a:cs typeface="Montserrat"/>
              </a:rPr>
              <a:t>rnatur </a:t>
            </a:r>
            <a:r>
              <a:rPr sz="945">
                <a:latin typeface="Montserrat"/>
                <a:cs typeface="Montserrat"/>
              </a:rPr>
              <a:t>sinu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busdam facim </a:t>
            </a:r>
            <a:r>
              <a:rPr sz="945">
                <a:latin typeface="Montserrat"/>
                <a:cs typeface="Montserrat"/>
              </a:rPr>
              <a:t>as ma est dem illaciam </a:t>
            </a:r>
            <a:r>
              <a:rPr sz="945" spc="-3">
                <a:latin typeface="Montserrat"/>
                <a:cs typeface="Montserrat"/>
              </a:rPr>
              <a:t>eaquo </a:t>
            </a:r>
            <a:r>
              <a:rPr sz="945">
                <a:latin typeface="Montserrat"/>
                <a:cs typeface="Montserrat"/>
              </a:rPr>
              <a:t> dese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n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4">
                <a:latin typeface="Montserrat"/>
                <a:cs typeface="Montserrat"/>
              </a:rPr>
              <a:t>exce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tem </a:t>
            </a:r>
            <a:r>
              <a:rPr sz="945">
                <a:latin typeface="Montserrat"/>
                <a:cs typeface="Montserrat"/>
              </a:rPr>
              <a:t>ne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elic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itatur?</a:t>
            </a:r>
          </a:p>
          <a:p>
            <a:pPr marL="8573">
              <a:lnSpc>
                <a:spcPct val="100000"/>
              </a:lnSpc>
              <a:spcBef>
                <a:spcPts val="216"/>
              </a:spcBef>
            </a:pPr>
            <a:r>
              <a:rPr sz="945" spc="-7">
                <a:latin typeface="Montserrat"/>
                <a:cs typeface="Montserrat"/>
              </a:rPr>
              <a:t>Occatem re</a:t>
            </a:r>
            <a:r>
              <a:rPr sz="945" spc="-3">
                <a:latin typeface="Montserrat"/>
                <a:cs typeface="Montserrat"/>
              </a:rPr>
              <a:t> volupta erunt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labo.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um </a:t>
            </a:r>
            <a:r>
              <a:rPr sz="945">
                <a:latin typeface="Montserrat"/>
                <a:cs typeface="Montserrat"/>
              </a:rPr>
              <a:t>nones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A6A1BF43-66F0-4B4C-8A92-5E7037502A00}"/>
              </a:ext>
            </a:extLst>
          </p:cNvPr>
          <p:cNvSpPr txBox="1"/>
          <p:nvPr userDrawn="1"/>
        </p:nvSpPr>
        <p:spPr>
          <a:xfrm>
            <a:off x="7948429" y="-4596829"/>
            <a:ext cx="3536156" cy="2937407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</a:t>
            </a:r>
            <a:r>
              <a:rPr sz="945">
                <a:latin typeface="Montserrat"/>
                <a:cs typeface="Montserrat"/>
              </a:rPr>
              <a:t> &gt;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Montserrat</a:t>
            </a:r>
            <a:r>
              <a:rPr sz="945">
                <a:latin typeface="Montserrat"/>
                <a:cs typeface="Montserrat"/>
              </a:rPr>
              <a:t> /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14 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dam, </a:t>
            </a:r>
            <a:r>
              <a:rPr sz="945" spc="-3">
                <a:latin typeface="Montserrat"/>
                <a:cs typeface="Montserrat"/>
              </a:rPr>
              <a:t>consequatem </a:t>
            </a:r>
            <a:r>
              <a:rPr sz="945">
                <a:latin typeface="Montserrat"/>
                <a:cs typeface="Montserrat"/>
              </a:rPr>
              <a:t>quodit latianis </a:t>
            </a:r>
            <a:r>
              <a:rPr sz="945" spc="-10">
                <a:latin typeface="Montserrat"/>
                <a:cs typeface="Montserrat"/>
              </a:rPr>
              <a:t>exere </a:t>
            </a:r>
            <a:r>
              <a:rPr sz="945">
                <a:latin typeface="Montserrat"/>
                <a:cs typeface="Montserrat"/>
              </a:rPr>
              <a:t>solestr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nt alicabo </a:t>
            </a:r>
            <a:r>
              <a:rPr sz="945" spc="-3">
                <a:latin typeface="Montserrat"/>
                <a:cs typeface="Montserrat"/>
              </a:rPr>
              <a:t>rerspedita </a:t>
            </a:r>
            <a:r>
              <a:rPr sz="945">
                <a:latin typeface="Montserrat"/>
                <a:cs typeface="Montserrat"/>
              </a:rPr>
              <a:t>cuptibusa suntum quasima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gnatem doloreiu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soloreperum</a:t>
            </a:r>
            <a:r>
              <a:rPr sz="945">
                <a:latin typeface="Montserrat"/>
                <a:cs typeface="Montserrat"/>
              </a:rPr>
              <a:t> sa </a:t>
            </a:r>
            <a:r>
              <a:rPr sz="945" spc="-3">
                <a:latin typeface="Montserrat"/>
                <a:cs typeface="Montserrat"/>
              </a:rPr>
              <a:t>cuptatqui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rio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ur, </a:t>
            </a:r>
            <a:r>
              <a:rPr sz="945">
                <a:latin typeface="Montserrat"/>
                <a:cs typeface="Montserrat"/>
              </a:rPr>
              <a:t>suntio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har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ius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onsequat.</a:t>
            </a:r>
          </a:p>
          <a:p>
            <a:pPr marL="8573" marR="34719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Nequi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andiasin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aceaquo </a:t>
            </a:r>
            <a:r>
              <a:rPr sz="945">
                <a:latin typeface="Montserrat"/>
                <a:cs typeface="Montserrat"/>
              </a:rPr>
              <a:t>int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ptaturest </a:t>
            </a:r>
            <a:r>
              <a:rPr sz="945">
                <a:latin typeface="Montserrat"/>
                <a:cs typeface="Montserrat"/>
              </a:rPr>
              <a:t>pe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in </a:t>
            </a:r>
            <a:r>
              <a:rPr sz="945" spc="-3">
                <a:latin typeface="Montserrat"/>
                <a:cs typeface="Montserrat"/>
              </a:rPr>
              <a:t>comnietur? </a:t>
            </a:r>
            <a:r>
              <a:rPr sz="945">
                <a:latin typeface="Montserrat"/>
                <a:cs typeface="Montserrat"/>
              </a:rPr>
              <a:t>Qui sinum alique de doluptaqui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 quas et </a:t>
            </a:r>
            <a:r>
              <a:rPr sz="945" spc="-3">
                <a:latin typeface="Montserrat"/>
                <a:cs typeface="Montserrat"/>
              </a:rPr>
              <a:t>eaquodit, </a:t>
            </a:r>
            <a:r>
              <a:rPr sz="945">
                <a:latin typeface="Montserrat"/>
                <a:cs typeface="Montserrat"/>
              </a:rPr>
              <a:t>cuptatur sequis </a:t>
            </a:r>
            <a:r>
              <a:rPr sz="945" spc="-7">
                <a:latin typeface="Montserrat"/>
                <a:cs typeface="Montserrat"/>
              </a:rPr>
              <a:t>vel </a:t>
            </a:r>
            <a:r>
              <a:rPr sz="945">
                <a:latin typeface="Montserrat"/>
                <a:cs typeface="Montserrat"/>
              </a:rPr>
              <a:t>idundae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e</a:t>
            </a:r>
            <a:r>
              <a:rPr sz="945" spc="-3">
                <a:latin typeface="Montserrat"/>
                <a:cs typeface="Montserrat"/>
              </a:rPr>
              <a:t> ventibusam,</a:t>
            </a:r>
            <a:r>
              <a:rPr sz="945">
                <a:latin typeface="Montserrat"/>
                <a:cs typeface="Montserrat"/>
              </a:rPr>
              <a:t> unt.</a:t>
            </a:r>
          </a:p>
          <a:p>
            <a:pPr marL="8573" marR="32576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Nonsero</a:t>
            </a:r>
            <a:r>
              <a:rPr sz="945" spc="41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or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dis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doluptiore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perrori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quunto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nto</a:t>
            </a:r>
            <a:r>
              <a:rPr sz="945" spc="-3">
                <a:latin typeface="Montserrat"/>
                <a:cs typeface="Montserrat"/>
              </a:rPr>
              <a:t> dolumendiate</a:t>
            </a:r>
            <a:r>
              <a:rPr sz="945">
                <a:latin typeface="Montserrat"/>
                <a:cs typeface="Montserrat"/>
              </a:rPr>
              <a:t> sit, </a:t>
            </a:r>
            <a:r>
              <a:rPr sz="945" spc="-3">
                <a:latin typeface="Montserrat"/>
                <a:cs typeface="Montserrat"/>
              </a:rPr>
              <a:t>soluptatem </a:t>
            </a:r>
            <a:r>
              <a:rPr sz="945" spc="-7">
                <a:latin typeface="Montserrat"/>
                <a:cs typeface="Montserrat"/>
              </a:rPr>
              <a:t>excessit</a:t>
            </a:r>
            <a:r>
              <a:rPr sz="945">
                <a:latin typeface="Montserrat"/>
                <a:cs typeface="Montserrat"/>
              </a:rPr>
              <a:t> qui </a:t>
            </a:r>
            <a:r>
              <a:rPr sz="945" spc="-7">
                <a:latin typeface="Montserrat"/>
                <a:cs typeface="Montserrat"/>
              </a:rPr>
              <a:t>tem-</a:t>
            </a:r>
            <a:endParaRPr sz="945">
              <a:latin typeface="Montserrat"/>
              <a:cs typeface="Montserrat"/>
            </a:endParaRPr>
          </a:p>
          <a:p>
            <a:pPr marL="8573" marR="1457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per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beat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ss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itae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ratenita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t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et aut</a:t>
            </a:r>
            <a:r>
              <a:rPr sz="945" spc="-3">
                <a:latin typeface="Montserrat"/>
                <a:cs typeface="Montserrat"/>
              </a:rPr>
              <a:t> faccatur?</a:t>
            </a:r>
            <a:endParaRPr sz="945">
              <a:latin typeface="Montserrat"/>
              <a:cs typeface="Montserrat"/>
            </a:endParaRPr>
          </a:p>
          <a:p>
            <a:pPr marL="8573" marR="87868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Genderes </a:t>
            </a:r>
            <a:r>
              <a:rPr sz="945">
                <a:latin typeface="Montserrat"/>
                <a:cs typeface="Montserrat"/>
              </a:rPr>
              <a:t>sitam, none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endipit </a:t>
            </a:r>
            <a:r>
              <a:rPr sz="945">
                <a:latin typeface="Montserrat"/>
                <a:cs typeface="Montserrat"/>
              </a:rPr>
              <a:t>debit aut fuga.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cit</a:t>
            </a:r>
            <a:r>
              <a:rPr sz="945" spc="-3">
                <a:latin typeface="Montserrat"/>
                <a:cs typeface="Montserrat"/>
              </a:rPr>
              <a:t> voluptatis</a:t>
            </a:r>
            <a:r>
              <a:rPr sz="945">
                <a:latin typeface="Montserrat"/>
                <a:cs typeface="Montserrat"/>
              </a:rPr>
              <a:t> asi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rendam explabo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accaectur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inumquodi quae </a:t>
            </a:r>
            <a:r>
              <a:rPr sz="945" spc="-3">
                <a:latin typeface="Montserrat"/>
                <a:cs typeface="Montserrat"/>
              </a:rPr>
              <a:t>odiaspero </a:t>
            </a:r>
            <a:r>
              <a:rPr sz="945" spc="-7">
                <a:latin typeface="Montserrat"/>
                <a:cs typeface="Montserrat"/>
              </a:rPr>
              <a:t>esto </a:t>
            </a:r>
            <a:r>
              <a:rPr sz="945">
                <a:latin typeface="Montserrat"/>
                <a:cs typeface="Montserrat"/>
              </a:rPr>
              <a:t>id mo </a:t>
            </a:r>
            <a:r>
              <a:rPr sz="945" spc="-7">
                <a:latin typeface="Montserrat"/>
                <a:cs typeface="Montserrat"/>
              </a:rPr>
              <a:t>tem </a:t>
            </a:r>
            <a:r>
              <a:rPr sz="945">
                <a:latin typeface="Montserrat"/>
                <a:cs typeface="Montserrat"/>
              </a:rPr>
              <a:t>nob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ia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us por </a:t>
            </a:r>
            <a:r>
              <a:rPr sz="945" spc="-3">
                <a:latin typeface="Montserrat"/>
                <a:cs typeface="Montserrat"/>
              </a:rPr>
              <a:t>rest, </a:t>
            </a:r>
            <a:r>
              <a:rPr sz="945">
                <a:latin typeface="Montserrat"/>
                <a:cs typeface="Montserrat"/>
              </a:rPr>
              <a:t>ut </a:t>
            </a:r>
            <a:r>
              <a:rPr sz="945" spc="-3">
                <a:latin typeface="Montserrat"/>
                <a:cs typeface="Montserrat"/>
              </a:rPr>
              <a:t>rehene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ect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.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1AAD0362-39C1-AF47-974F-07E65F2E614D}"/>
              </a:ext>
            </a:extLst>
          </p:cNvPr>
          <p:cNvSpPr/>
          <p:nvPr userDrawn="1"/>
        </p:nvSpPr>
        <p:spPr>
          <a:xfrm>
            <a:off x="76583" y="-4860192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1C786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DB9DD2CC-77E2-9243-81D0-1AFB14378475}"/>
              </a:ext>
            </a:extLst>
          </p:cNvPr>
          <p:cNvSpPr/>
          <p:nvPr userDrawn="1"/>
        </p:nvSpPr>
        <p:spPr>
          <a:xfrm>
            <a:off x="4014038" y="-4856069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3A16EAAE-8C92-934F-BADB-0F21C3BF8935}"/>
              </a:ext>
            </a:extLst>
          </p:cNvPr>
          <p:cNvSpPr/>
          <p:nvPr userDrawn="1"/>
        </p:nvSpPr>
        <p:spPr>
          <a:xfrm>
            <a:off x="7929149" y="-4846838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" name="Holder 2">
            <a:extLst>
              <a:ext uri="{FF2B5EF4-FFF2-40B4-BE49-F238E27FC236}">
                <a16:creationId xmlns:a16="http://schemas.microsoft.com/office/drawing/2014/main" id="{FECD3433-65F0-3B42-9612-01BF52750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2900"/>
            <a:ext cx="8048626" cy="62324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4050" b="1" i="0">
                <a:solidFill>
                  <a:srgbClr val="00C9FF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B6EA9E1B-8A39-074B-A199-9F3D8750D984}"/>
              </a:ext>
            </a:extLst>
          </p:cNvPr>
          <p:cNvSpPr/>
          <p:nvPr userDrawn="1"/>
        </p:nvSpPr>
        <p:spPr>
          <a:xfrm>
            <a:off x="11275448" y="342900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6"/>
                </a:lnTo>
                <a:lnTo>
                  <a:pt x="483023" y="409199"/>
                </a:lnTo>
                <a:lnTo>
                  <a:pt x="483031" y="410937"/>
                </a:lnTo>
                <a:lnTo>
                  <a:pt x="478538" y="472829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5" y="458619"/>
                </a:lnTo>
                <a:lnTo>
                  <a:pt x="24099" y="514159"/>
                </a:lnTo>
                <a:lnTo>
                  <a:pt x="54063" y="569315"/>
                </a:lnTo>
                <a:lnTo>
                  <a:pt x="74474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3" y="475242"/>
                </a:lnTo>
                <a:lnTo>
                  <a:pt x="63376" y="443185"/>
                </a:lnTo>
                <a:lnTo>
                  <a:pt x="58671" y="410937"/>
                </a:lnTo>
                <a:lnTo>
                  <a:pt x="57124" y="379552"/>
                </a:lnTo>
                <a:lnTo>
                  <a:pt x="60457" y="333636"/>
                </a:lnTo>
                <a:lnTo>
                  <a:pt x="70230" y="289234"/>
                </a:lnTo>
                <a:lnTo>
                  <a:pt x="86102" y="246949"/>
                </a:lnTo>
                <a:lnTo>
                  <a:pt x="107732" y="207381"/>
                </a:lnTo>
                <a:lnTo>
                  <a:pt x="134780" y="171135"/>
                </a:lnTo>
                <a:lnTo>
                  <a:pt x="166906" y="138813"/>
                </a:lnTo>
                <a:lnTo>
                  <a:pt x="203769" y="111016"/>
                </a:lnTo>
                <a:lnTo>
                  <a:pt x="245028" y="88347"/>
                </a:lnTo>
                <a:lnTo>
                  <a:pt x="290344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2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2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1" y="379552"/>
                </a:lnTo>
                <a:lnTo>
                  <a:pt x="125508" y="390389"/>
                </a:lnTo>
                <a:lnTo>
                  <a:pt x="132759" y="398167"/>
                </a:lnTo>
                <a:lnTo>
                  <a:pt x="142496" y="402501"/>
                </a:lnTo>
                <a:lnTo>
                  <a:pt x="154050" y="403009"/>
                </a:lnTo>
                <a:lnTo>
                  <a:pt x="164308" y="398738"/>
                </a:lnTo>
                <a:lnTo>
                  <a:pt x="171788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2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7B09DAE7-2388-C347-BCEB-734720B431A6}"/>
              </a:ext>
            </a:extLst>
          </p:cNvPr>
          <p:cNvSpPr/>
          <p:nvPr userDrawn="1"/>
        </p:nvSpPr>
        <p:spPr>
          <a:xfrm>
            <a:off x="381000" y="2591584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1C786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E7C9AD8D-357B-6341-AF9D-214785F51F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203237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27" name="Holder 3">
            <a:extLst>
              <a:ext uri="{FF2B5EF4-FFF2-40B4-BE49-F238E27FC236}">
                <a16:creationId xmlns:a16="http://schemas.microsoft.com/office/drawing/2014/main" id="{CB072564-2C08-D142-AE94-881776506A3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232764" y="2821117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8" name="object 13">
            <a:extLst>
              <a:ext uri="{FF2B5EF4-FFF2-40B4-BE49-F238E27FC236}">
                <a16:creationId xmlns:a16="http://schemas.microsoft.com/office/drawing/2014/main" id="{390FC6E3-E7DF-7349-820B-62C9B2FE4B59}"/>
              </a:ext>
            </a:extLst>
          </p:cNvPr>
          <p:cNvSpPr/>
          <p:nvPr userDrawn="1"/>
        </p:nvSpPr>
        <p:spPr>
          <a:xfrm>
            <a:off x="4212433" y="2607754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1369390D-C134-F946-8C9D-A4A786C6787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56932" y="281956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30" name="object 14">
            <a:extLst>
              <a:ext uri="{FF2B5EF4-FFF2-40B4-BE49-F238E27FC236}">
                <a16:creationId xmlns:a16="http://schemas.microsoft.com/office/drawing/2014/main" id="{41DE161D-AB82-E24F-A775-55ECD2A5E65A}"/>
              </a:ext>
            </a:extLst>
          </p:cNvPr>
          <p:cNvSpPr/>
          <p:nvPr userDrawn="1"/>
        </p:nvSpPr>
        <p:spPr>
          <a:xfrm>
            <a:off x="8193883" y="2608836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2" name="Espace réservé du texte 24">
            <a:extLst>
              <a:ext uri="{FF2B5EF4-FFF2-40B4-BE49-F238E27FC236}">
                <a16:creationId xmlns:a16="http://schemas.microsoft.com/office/drawing/2014/main" id="{5F55C061-0C43-C141-B996-52017CE3BF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04813" y="2046826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3" name="Espace réservé du texte 24">
            <a:extLst>
              <a:ext uri="{FF2B5EF4-FFF2-40B4-BE49-F238E27FC236}">
                <a16:creationId xmlns:a16="http://schemas.microsoft.com/office/drawing/2014/main" id="{367809F1-48EC-7543-A2D7-ADEFBBD52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5577" y="205869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algn="r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8573" marR="0" lvl="0" indent="0" algn="r" defTabSz="61722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26E4F3AA-2828-4656-8903-F20029639EA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24611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nne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2728" y="279324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FC9089E1-5851-6945-9B5F-503F325A8923}"/>
              </a:ext>
            </a:extLst>
          </p:cNvPr>
          <p:cNvSpPr txBox="1"/>
          <p:nvPr userDrawn="1"/>
        </p:nvSpPr>
        <p:spPr>
          <a:xfrm>
            <a:off x="20053" y="-1082825"/>
            <a:ext cx="1982153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de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la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présentation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p.3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3D017B9A-1C12-3246-96BD-E2D983CA0721}"/>
              </a:ext>
            </a:extLst>
          </p:cNvPr>
          <p:cNvSpPr txBox="1"/>
          <p:nvPr userDrawn="1"/>
        </p:nvSpPr>
        <p:spPr>
          <a:xfrm>
            <a:off x="11139709" y="-1082825"/>
            <a:ext cx="634364" cy="154081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>
              <a:lnSpc>
                <a:spcPct val="100000"/>
              </a:lnSpc>
              <a:spcBef>
                <a:spcPts val="68"/>
              </a:spcBef>
            </a:pP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1</a:t>
            </a:r>
            <a:r>
              <a:rPr sz="945" b="1" spc="-14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1</a:t>
            </a:r>
            <a:r>
              <a:rPr sz="945" b="1" spc="7">
                <a:solidFill>
                  <a:srgbClr val="FFFFFF"/>
                </a:solidFill>
                <a:latin typeface="Montserrat"/>
                <a:cs typeface="Montserrat"/>
              </a:rPr>
              <a:t>.</a:t>
            </a:r>
            <a:r>
              <a:rPr sz="945" b="1" spc="-3">
                <a:solidFill>
                  <a:srgbClr val="FFFFFF"/>
                </a:solidFill>
                <a:latin typeface="Montserrat"/>
                <a:cs typeface="Montserrat"/>
              </a:rPr>
              <a:t>2</a:t>
            </a:r>
            <a:r>
              <a:rPr sz="945" b="1" spc="-7">
                <a:solidFill>
                  <a:srgbClr val="FFFFFF"/>
                </a:solidFill>
                <a:latin typeface="Montserrat"/>
                <a:cs typeface="Montserrat"/>
              </a:rPr>
              <a:t>0</a:t>
            </a:r>
            <a:r>
              <a:rPr sz="945" b="1">
                <a:solidFill>
                  <a:srgbClr val="FFFFFF"/>
                </a:solidFill>
                <a:latin typeface="Montserrat"/>
                <a:cs typeface="Montserrat"/>
              </a:rPr>
              <a:t>21</a:t>
            </a:r>
            <a:endParaRPr sz="945">
              <a:latin typeface="Montserrat"/>
              <a:cs typeface="Montserrat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52FAF67C-7588-B944-A36F-AAFC6F631933}"/>
              </a:ext>
            </a:extLst>
          </p:cNvPr>
          <p:cNvSpPr/>
          <p:nvPr userDrawn="1"/>
        </p:nvSpPr>
        <p:spPr>
          <a:xfrm>
            <a:off x="11031355" y="-7347042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6"/>
                </a:lnTo>
                <a:lnTo>
                  <a:pt x="483023" y="409199"/>
                </a:lnTo>
                <a:lnTo>
                  <a:pt x="483031" y="410937"/>
                </a:lnTo>
                <a:lnTo>
                  <a:pt x="478538" y="472829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5" y="458619"/>
                </a:lnTo>
                <a:lnTo>
                  <a:pt x="24099" y="514159"/>
                </a:lnTo>
                <a:lnTo>
                  <a:pt x="54063" y="569315"/>
                </a:lnTo>
                <a:lnTo>
                  <a:pt x="74474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3" y="475242"/>
                </a:lnTo>
                <a:lnTo>
                  <a:pt x="63376" y="443185"/>
                </a:lnTo>
                <a:lnTo>
                  <a:pt x="58671" y="410937"/>
                </a:lnTo>
                <a:lnTo>
                  <a:pt x="57124" y="379552"/>
                </a:lnTo>
                <a:lnTo>
                  <a:pt x="60457" y="333636"/>
                </a:lnTo>
                <a:lnTo>
                  <a:pt x="70230" y="289234"/>
                </a:lnTo>
                <a:lnTo>
                  <a:pt x="86102" y="246949"/>
                </a:lnTo>
                <a:lnTo>
                  <a:pt x="107732" y="207381"/>
                </a:lnTo>
                <a:lnTo>
                  <a:pt x="134780" y="171135"/>
                </a:lnTo>
                <a:lnTo>
                  <a:pt x="166906" y="138813"/>
                </a:lnTo>
                <a:lnTo>
                  <a:pt x="203769" y="111016"/>
                </a:lnTo>
                <a:lnTo>
                  <a:pt x="245028" y="88347"/>
                </a:lnTo>
                <a:lnTo>
                  <a:pt x="290344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2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2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1" y="379552"/>
                </a:lnTo>
                <a:lnTo>
                  <a:pt x="125508" y="390389"/>
                </a:lnTo>
                <a:lnTo>
                  <a:pt x="132759" y="398167"/>
                </a:lnTo>
                <a:lnTo>
                  <a:pt x="142496" y="402501"/>
                </a:lnTo>
                <a:lnTo>
                  <a:pt x="154050" y="403009"/>
                </a:lnTo>
                <a:lnTo>
                  <a:pt x="164308" y="398738"/>
                </a:lnTo>
                <a:lnTo>
                  <a:pt x="171788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2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ACA1E459-A765-C64A-8647-B851D2404055}"/>
              </a:ext>
            </a:extLst>
          </p:cNvPr>
          <p:cNvSpPr txBox="1">
            <a:spLocks/>
          </p:cNvSpPr>
          <p:nvPr userDrawn="1"/>
        </p:nvSpPr>
        <p:spPr>
          <a:xfrm>
            <a:off x="98634" y="-7579079"/>
            <a:ext cx="7746683" cy="1240083"/>
          </a:xfrm>
          <a:prstGeom prst="rect">
            <a:avLst/>
          </a:prstGeom>
        </p:spPr>
        <p:txBody>
          <a:bodyPr vert="horz" wrap="square" lIns="0" tIns="34290" rIns="0" bIns="0" rtlCol="0">
            <a:spAutoFit/>
          </a:bodyPr>
          <a:lstStyle>
            <a:lvl1pPr>
              <a:defRPr sz="9000" b="1" i="0">
                <a:solidFill>
                  <a:schemeClr val="bg1"/>
                </a:solidFill>
                <a:latin typeface="Baloo 2"/>
                <a:ea typeface="+mj-ea"/>
                <a:cs typeface="Baloo 2"/>
              </a:defRPr>
            </a:lvl1pPr>
          </a:lstStyle>
          <a:p>
            <a:pPr marL="8573" marR="3429">
              <a:lnSpc>
                <a:spcPts val="4725"/>
              </a:lnSpc>
              <a:spcBef>
                <a:spcPts val="270"/>
              </a:spcBef>
              <a:tabLst>
                <a:tab pos="1209151" algn="l"/>
                <a:tab pos="1250299" algn="l"/>
                <a:tab pos="1477470" algn="l"/>
                <a:tab pos="2062544" algn="l"/>
                <a:tab pos="2432447" algn="l"/>
                <a:tab pos="2906078" algn="l"/>
                <a:tab pos="3926205" algn="l"/>
                <a:tab pos="4058650" algn="l"/>
                <a:tab pos="4333399" algn="l"/>
                <a:tab pos="5768007" algn="l"/>
                <a:tab pos="6465380" algn="l"/>
              </a:tabLst>
            </a:pPr>
            <a:r>
              <a:rPr lang="fr-FR" sz="4050" kern="0" spc="-20">
                <a:solidFill>
                  <a:srgbClr val="00C9FF"/>
                </a:solidFill>
              </a:rPr>
              <a:t>Titre	</a:t>
            </a:r>
            <a:r>
              <a:rPr lang="fr-FR" sz="4050" kern="0">
                <a:solidFill>
                  <a:srgbClr val="00C9FF"/>
                </a:solidFill>
              </a:rPr>
              <a:t>sur	2	lignes	maximum </a:t>
            </a:r>
            <a:r>
              <a:rPr lang="fr-FR" sz="4050" kern="0" spc="3">
                <a:solidFill>
                  <a:srgbClr val="00C9FF"/>
                </a:solidFill>
              </a:rPr>
              <a:t> </a:t>
            </a:r>
            <a:r>
              <a:rPr lang="fr-FR" sz="4050" kern="0" spc="-68">
                <a:solidFill>
                  <a:srgbClr val="00C9FF"/>
                </a:solidFill>
              </a:rPr>
              <a:t>T</a:t>
            </a:r>
            <a:r>
              <a:rPr lang="fr-FR" sz="4050" kern="0" spc="-30">
                <a:solidFill>
                  <a:srgbClr val="00C9FF"/>
                </a:solidFill>
              </a:rPr>
              <a:t>y</a:t>
            </a:r>
            <a:r>
              <a:rPr lang="fr-FR" sz="4050" kern="0">
                <a:solidFill>
                  <a:srgbClr val="00C9FF"/>
                </a:solidFill>
              </a:rPr>
              <a:t>po		:	</a:t>
            </a:r>
            <a:r>
              <a:rPr lang="fr-FR" sz="4050" kern="0" err="1">
                <a:solidFill>
                  <a:srgbClr val="00C9FF"/>
                </a:solidFill>
              </a:rPr>
              <a:t>Baloo</a:t>
            </a:r>
            <a:r>
              <a:rPr lang="fr-FR" sz="4050" kern="0">
                <a:solidFill>
                  <a:srgbClr val="00C9FF"/>
                </a:solidFill>
              </a:rPr>
              <a:t>	</a:t>
            </a:r>
            <a:r>
              <a:rPr lang="fr-FR" sz="4050" kern="0" spc="-14">
                <a:solidFill>
                  <a:srgbClr val="00C9FF"/>
                </a:solidFill>
              </a:rPr>
              <a:t>B</a:t>
            </a:r>
            <a:r>
              <a:rPr lang="fr-FR" sz="4050" kern="0">
                <a:solidFill>
                  <a:srgbClr val="00C9FF"/>
                </a:solidFill>
              </a:rPr>
              <a:t>old	/	</a:t>
            </a:r>
            <a:r>
              <a:rPr lang="fr-FR" sz="4050" kern="0" spc="-68">
                <a:solidFill>
                  <a:srgbClr val="00C9FF"/>
                </a:solidFill>
              </a:rPr>
              <a:t>C</a:t>
            </a:r>
            <a:r>
              <a:rPr lang="fr-FR" sz="4050" kern="0">
                <a:solidFill>
                  <a:srgbClr val="00C9FF"/>
                </a:solidFill>
              </a:rPr>
              <a:t>o</a:t>
            </a:r>
            <a:r>
              <a:rPr lang="fr-FR" sz="4050" kern="0" spc="-37">
                <a:solidFill>
                  <a:srgbClr val="00C9FF"/>
                </a:solidFill>
              </a:rPr>
              <a:t>r</a:t>
            </a:r>
            <a:r>
              <a:rPr lang="fr-FR" sz="4050" kern="0">
                <a:solidFill>
                  <a:srgbClr val="00C9FF"/>
                </a:solidFill>
              </a:rPr>
              <a:t>ps	60	pt</a:t>
            </a:r>
            <a:endParaRPr lang="fr-FR" sz="4050" kern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4229BE28-591F-0541-BB08-8FC47EA71F6B}"/>
              </a:ext>
            </a:extLst>
          </p:cNvPr>
          <p:cNvSpPr txBox="1"/>
          <p:nvPr userDrawn="1"/>
        </p:nvSpPr>
        <p:spPr>
          <a:xfrm>
            <a:off x="96253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878289DC-09BB-E44C-A1A4-7E9A570F21E3}"/>
              </a:ext>
            </a:extLst>
          </p:cNvPr>
          <p:cNvSpPr txBox="1"/>
          <p:nvPr userDrawn="1"/>
        </p:nvSpPr>
        <p:spPr>
          <a:xfrm>
            <a:off x="401851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BC923298-615B-8B45-9FFC-58F6932842F4}"/>
              </a:ext>
            </a:extLst>
          </p:cNvPr>
          <p:cNvSpPr txBox="1"/>
          <p:nvPr userDrawn="1"/>
        </p:nvSpPr>
        <p:spPr>
          <a:xfrm>
            <a:off x="7920545" y="-5451660"/>
            <a:ext cx="3158014" cy="410433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1100"/>
              </a:lnSpc>
              <a:spcBef>
                <a:spcPts val="68"/>
              </a:spcBef>
            </a:pPr>
            <a:r>
              <a:rPr sz="1215" b="1" spc="-7">
                <a:latin typeface="Montserrat"/>
                <a:cs typeface="Montserrat"/>
              </a:rPr>
              <a:t>Titre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sur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3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lignes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maximum</a:t>
            </a:r>
            <a:r>
              <a:rPr sz="1215" b="1" spc="-10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 spc="-10">
                <a:latin typeface="Montserrat"/>
                <a:cs typeface="Montserrat"/>
              </a:rPr>
              <a:t>Typo</a:t>
            </a:r>
            <a:r>
              <a:rPr sz="1215" b="1" spc="-7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: </a:t>
            </a:r>
            <a:r>
              <a:rPr sz="1215" b="1" spc="-334">
                <a:latin typeface="Montserrat"/>
                <a:cs typeface="Montserrat"/>
              </a:rPr>
              <a:t> </a:t>
            </a:r>
            <a:r>
              <a:rPr sz="1215" b="1" spc="-3">
                <a:latin typeface="Montserrat"/>
                <a:cs typeface="Montserrat"/>
              </a:rPr>
              <a:t>Montserrat </a:t>
            </a:r>
            <a:r>
              <a:rPr sz="1215" b="1">
                <a:latin typeface="Montserrat"/>
                <a:cs typeface="Montserrat"/>
              </a:rPr>
              <a:t>/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 spc="-7">
                <a:latin typeface="Montserrat"/>
                <a:cs typeface="Montserrat"/>
              </a:rPr>
              <a:t>Corps</a:t>
            </a:r>
            <a:r>
              <a:rPr sz="1215" b="1">
                <a:latin typeface="Montserrat"/>
                <a:cs typeface="Montserrat"/>
              </a:rPr>
              <a:t> :</a:t>
            </a:r>
            <a:r>
              <a:rPr sz="1215" b="1" spc="-3">
                <a:latin typeface="Montserrat"/>
                <a:cs typeface="Montserrat"/>
              </a:rPr>
              <a:t> </a:t>
            </a:r>
            <a:r>
              <a:rPr sz="1215" b="1">
                <a:latin typeface="Montserrat"/>
                <a:cs typeface="Montserrat"/>
              </a:rPr>
              <a:t>18 pt</a:t>
            </a:r>
            <a:endParaRPr sz="1215">
              <a:latin typeface="Montserrat"/>
              <a:cs typeface="Montserrat"/>
            </a:endParaRP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E3972B00-7B11-414F-8999-E7F7CA46C692}"/>
              </a:ext>
            </a:extLst>
          </p:cNvPr>
          <p:cNvSpPr txBox="1"/>
          <p:nvPr userDrawn="1"/>
        </p:nvSpPr>
        <p:spPr>
          <a:xfrm>
            <a:off x="98647" y="-4598269"/>
            <a:ext cx="3540443" cy="2764348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79296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ligen tiorion</a:t>
            </a:r>
            <a:r>
              <a:rPr sz="945">
                <a:latin typeface="Montserrat"/>
                <a:cs typeface="Montserrat"/>
              </a:rPr>
              <a:t> estrupt</a:t>
            </a:r>
            <a:r>
              <a:rPr sz="945" spc="-3">
                <a:latin typeface="Montserrat"/>
                <a:cs typeface="Montserrat"/>
              </a:rPr>
              <a:t> urenia</a:t>
            </a:r>
            <a:r>
              <a:rPr sz="945">
                <a:latin typeface="Montserrat"/>
                <a:cs typeface="Montserrat"/>
              </a:rPr>
              <a:t> se</a:t>
            </a:r>
            <a:r>
              <a:rPr sz="945" spc="-3">
                <a:latin typeface="Montserrat"/>
                <a:cs typeface="Montserrat"/>
              </a:rPr>
              <a:t> pore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or</a:t>
            </a:r>
            <a:r>
              <a:rPr sz="945" spc="-3">
                <a:latin typeface="Montserrat"/>
                <a:cs typeface="Montserrat"/>
              </a:rPr>
              <a:t> roriandit peliquaero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it</a:t>
            </a:r>
            <a:r>
              <a:rPr sz="945" spc="-3">
                <a:latin typeface="Montserrat"/>
                <a:cs typeface="Montserrat"/>
              </a:rPr>
              <a:t> veles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qui</a:t>
            </a:r>
          </a:p>
          <a:p>
            <a:pPr marL="8573" marR="3429" algn="just">
              <a:lnSpc>
                <a:spcPct val="119100"/>
              </a:lnSpc>
            </a:pPr>
            <a:r>
              <a:rPr sz="945" spc="10">
                <a:latin typeface="Montserrat"/>
                <a:cs typeface="Montserrat"/>
              </a:rPr>
              <a:t>offici </a:t>
            </a:r>
            <a:r>
              <a:rPr sz="945" spc="-7">
                <a:latin typeface="Montserrat"/>
                <a:cs typeface="Montserrat"/>
              </a:rPr>
              <a:t>autet </a:t>
            </a:r>
            <a:r>
              <a:rPr sz="945">
                <a:latin typeface="Montserrat"/>
                <a:cs typeface="Montserrat"/>
              </a:rPr>
              <a:t>que </a:t>
            </a:r>
            <a:r>
              <a:rPr sz="945" spc="-3">
                <a:latin typeface="Montserrat"/>
                <a:cs typeface="Montserrat"/>
              </a:rPr>
              <a:t>venda </a:t>
            </a:r>
            <a:r>
              <a:rPr sz="945">
                <a:latin typeface="Montserrat"/>
                <a:cs typeface="Montserrat"/>
              </a:rPr>
              <a:t>ipitat ut quas dolessum </a:t>
            </a:r>
            <a:r>
              <a:rPr sz="945" spc="-10">
                <a:latin typeface="Montserrat"/>
                <a:cs typeface="Montserrat"/>
              </a:rPr>
              <a:t>exero- </a:t>
            </a:r>
            <a:r>
              <a:rPr sz="945" spc="-24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vitist ipicipicae </a:t>
            </a:r>
            <a:r>
              <a:rPr sz="945" spc="-3">
                <a:latin typeface="Montserrat"/>
                <a:cs typeface="Montserrat"/>
              </a:rPr>
              <a:t>iusapero </a:t>
            </a:r>
            <a:r>
              <a:rPr sz="945">
                <a:latin typeface="Montserrat"/>
                <a:cs typeface="Montserrat"/>
              </a:rPr>
              <a:t>iumquos ant </a:t>
            </a:r>
            <a:r>
              <a:rPr sz="945" spc="-10">
                <a:latin typeface="Montserrat"/>
                <a:cs typeface="Montserrat"/>
              </a:rPr>
              <a:t>verio. </a:t>
            </a:r>
            <a:r>
              <a:rPr sz="945" spc="-3">
                <a:latin typeface="Montserrat"/>
                <a:cs typeface="Montserrat"/>
              </a:rPr>
              <a:t>Ictem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mi,</a:t>
            </a:r>
            <a:r>
              <a:rPr sz="945" spc="-3">
                <a:latin typeface="Montserrat"/>
                <a:cs typeface="Montserrat"/>
              </a:rPr>
              <a:t> saeriatentis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atur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>
                <a:latin typeface="Montserrat"/>
                <a:cs typeface="Montserrat"/>
              </a:rPr>
              <a:t> harunt.</a:t>
            </a:r>
          </a:p>
          <a:p>
            <a:pPr marL="8573" marR="3343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Ent u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eaqui </a:t>
            </a:r>
            <a:r>
              <a:rPr sz="945">
                <a:latin typeface="Montserrat"/>
                <a:cs typeface="Montserrat"/>
              </a:rPr>
              <a:t>odic </a:t>
            </a:r>
            <a:r>
              <a:rPr sz="945" spc="-7">
                <a:latin typeface="Montserrat"/>
                <a:cs typeface="Montserrat"/>
              </a:rPr>
              <a:t>tenim </a:t>
            </a:r>
            <a:r>
              <a:rPr sz="945">
                <a:latin typeface="Montserrat"/>
                <a:cs typeface="Montserrat"/>
              </a:rPr>
              <a:t>ullicia epudam </a:t>
            </a:r>
            <a:r>
              <a:rPr sz="945" spc="-7">
                <a:latin typeface="Montserrat"/>
                <a:cs typeface="Montserrat"/>
              </a:rPr>
              <a:t>expe 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undam aut alit quat quam </a:t>
            </a:r>
            <a:r>
              <a:rPr sz="945" spc="-7">
                <a:latin typeface="Montserrat"/>
                <a:cs typeface="Montserrat"/>
              </a:rPr>
              <a:t>ute velliatem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prorum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 quis aut qui odit il et dunt </a:t>
            </a:r>
            <a:r>
              <a:rPr sz="945" spc="-3">
                <a:latin typeface="Montserrat"/>
                <a:cs typeface="Montserrat"/>
              </a:rPr>
              <a:t>volupta </a:t>
            </a:r>
            <a:r>
              <a:rPr sz="945">
                <a:latin typeface="Montserrat"/>
                <a:cs typeface="Montserrat"/>
              </a:rPr>
              <a:t>sae </a:t>
            </a:r>
            <a:r>
              <a:rPr sz="945" spc="-3">
                <a:latin typeface="Montserrat"/>
                <a:cs typeface="Montserrat"/>
              </a:rPr>
              <a:t>volla </a:t>
            </a:r>
            <a:r>
              <a:rPr sz="945">
                <a:latin typeface="Montserrat"/>
                <a:cs typeface="Montserrat"/>
              </a:rPr>
              <a:t>ne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lliquas as </a:t>
            </a:r>
            <a:r>
              <a:rPr sz="945" spc="-3">
                <a:latin typeface="Montserrat"/>
                <a:cs typeface="Montserrat"/>
              </a:rPr>
              <a:t>velitas </a:t>
            </a:r>
            <a:r>
              <a:rPr sz="945">
                <a:latin typeface="Montserrat"/>
                <a:cs typeface="Montserrat"/>
              </a:rPr>
              <a:t>autatibus non </a:t>
            </a:r>
            <a:r>
              <a:rPr sz="945" spc="-3">
                <a:latin typeface="Montserrat"/>
                <a:cs typeface="Montserrat"/>
              </a:rPr>
              <a:t>etur, </a:t>
            </a:r>
            <a:r>
              <a:rPr sz="945">
                <a:latin typeface="Montserrat"/>
                <a:cs typeface="Montserrat"/>
              </a:rPr>
              <a:t>iunt </a:t>
            </a:r>
            <a:r>
              <a:rPr sz="945" spc="-3">
                <a:latin typeface="Montserrat"/>
                <a:cs typeface="Montserrat"/>
              </a:rPr>
              <a:t>quuntem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bo. </a:t>
            </a:r>
            <a:r>
              <a:rPr sz="945">
                <a:latin typeface="Montserrat"/>
                <a:cs typeface="Montserrat"/>
              </a:rPr>
              <a:t>Nam, audantist, sunt aut </a:t>
            </a:r>
            <a:r>
              <a:rPr sz="945" spc="-3">
                <a:latin typeface="Montserrat"/>
                <a:cs typeface="Montserrat"/>
              </a:rPr>
              <a:t>expla </a:t>
            </a:r>
            <a:r>
              <a:rPr sz="945">
                <a:latin typeface="Montserrat"/>
                <a:cs typeface="Montserrat"/>
              </a:rPr>
              <a:t>dis magna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ullaboria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land unditatio.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dol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ic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10">
                <a:latin typeface="Montserrat"/>
                <a:cs typeface="Montserrat"/>
              </a:rPr>
              <a:t>offic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,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,</a:t>
            </a:r>
            <a:r>
              <a:rPr sz="945" spc="-3">
                <a:latin typeface="Montserrat"/>
                <a:cs typeface="Montserrat"/>
              </a:rPr>
              <a:t> vellias </a:t>
            </a:r>
            <a:r>
              <a:rPr sz="945">
                <a:latin typeface="Montserrat"/>
                <a:cs typeface="Montserrat"/>
              </a:rPr>
              <a:t>e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umquo </a:t>
            </a:r>
            <a:r>
              <a:rPr sz="945" spc="-236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itibu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stota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</a:t>
            </a:r>
            <a:r>
              <a:rPr sz="945" spc="-3">
                <a:latin typeface="Montserrat"/>
                <a:cs typeface="Montserrat"/>
              </a:rPr>
              <a:t> prae </a:t>
            </a:r>
            <a:r>
              <a:rPr sz="945">
                <a:latin typeface="Montserrat"/>
                <a:cs typeface="Montserrat"/>
              </a:rPr>
              <a:t>quibusa</a:t>
            </a:r>
            <a:r>
              <a:rPr sz="945" spc="-3">
                <a:latin typeface="Montserrat"/>
                <a:cs typeface="Montserrat"/>
              </a:rPr>
              <a:t> doloris </a:t>
            </a:r>
            <a:r>
              <a:rPr sz="945">
                <a:latin typeface="Montserrat"/>
                <a:cs typeface="Montserrat"/>
              </a:rPr>
              <a:t>sa </a:t>
            </a:r>
            <a:r>
              <a:rPr sz="945" spc="-3">
                <a:latin typeface="Montserrat"/>
                <a:cs typeface="Montserrat"/>
              </a:rPr>
              <a:t>volupta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ate</a:t>
            </a:r>
            <a:r>
              <a:rPr sz="945" spc="-3">
                <a:latin typeface="Montserrat"/>
                <a:cs typeface="Montserrat"/>
              </a:rPr>
              <a:t> rerisquati </a:t>
            </a:r>
            <a:r>
              <a:rPr sz="945">
                <a:latin typeface="Montserrat"/>
                <a:cs typeface="Montserrat"/>
              </a:rPr>
              <a:t>aliqu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atet</a:t>
            </a:r>
            <a:r>
              <a:rPr sz="945">
                <a:latin typeface="Montserrat"/>
                <a:cs typeface="Montserrat"/>
              </a:rPr>
              <a:t> dolliquamet</a:t>
            </a:r>
            <a:r>
              <a:rPr sz="945" spc="-3">
                <a:latin typeface="Montserrat"/>
                <a:cs typeface="Montserrat"/>
              </a:rPr>
              <a:t> dolorese- </a:t>
            </a:r>
            <a:r>
              <a:rPr sz="945">
                <a:latin typeface="Montserrat"/>
                <a:cs typeface="Montserrat"/>
              </a:rPr>
              <a:t> qu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a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onsen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psa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imus</a:t>
            </a: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id="{A4364D2F-1783-3443-A250-33A7AFD1EA6A}"/>
              </a:ext>
            </a:extLst>
          </p:cNvPr>
          <p:cNvSpPr txBox="1"/>
          <p:nvPr userDrawn="1"/>
        </p:nvSpPr>
        <p:spPr>
          <a:xfrm>
            <a:off x="4020205" y="-4597548"/>
            <a:ext cx="3477101" cy="2602572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 </a:t>
            </a:r>
            <a:r>
              <a:rPr sz="945">
                <a:latin typeface="Montserrat"/>
                <a:cs typeface="Montserrat"/>
              </a:rPr>
              <a:t>&gt;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</a:t>
            </a:r>
            <a:r>
              <a:rPr sz="945" spc="-3">
                <a:latin typeface="Montserrat"/>
                <a:cs typeface="Montserrat"/>
              </a:rPr>
              <a:t>Montserrat </a:t>
            </a:r>
            <a:r>
              <a:rPr sz="945">
                <a:latin typeface="Montserrat"/>
                <a:cs typeface="Montserrat"/>
              </a:rPr>
              <a:t>/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: 14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accusam </a:t>
            </a:r>
            <a:r>
              <a:rPr sz="945">
                <a:latin typeface="Montserrat"/>
                <a:cs typeface="Montserrat"/>
              </a:rPr>
              <a:t>nos es intur sequam </a:t>
            </a:r>
            <a:r>
              <a:rPr sz="945" spc="-7">
                <a:latin typeface="Montserrat"/>
                <a:cs typeface="Montserrat"/>
              </a:rPr>
              <a:t>atem </a:t>
            </a:r>
            <a:r>
              <a:rPr sz="945">
                <a:latin typeface="Montserrat"/>
                <a:cs typeface="Montserrat"/>
              </a:rPr>
              <a:t>aut lanis a s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i </a:t>
            </a:r>
            <a:r>
              <a:rPr sz="945">
                <a:latin typeface="Montserrat"/>
                <a:cs typeface="Montserrat"/>
              </a:rPr>
              <a:t>ullupta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a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toreperchit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escia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empo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liqua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t,</a:t>
            </a:r>
            <a:r>
              <a:rPr sz="945" spc="-7">
                <a:latin typeface="Montserrat"/>
                <a:cs typeface="Montserrat"/>
              </a:rPr>
              <a:t> te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ectatati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eliqui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agn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a </a:t>
            </a:r>
            <a:r>
              <a:rPr sz="945" spc="-3">
                <a:latin typeface="Montserrat"/>
                <a:cs typeface="Montserrat"/>
              </a:rPr>
              <a:t>solorero </a:t>
            </a:r>
            <a:r>
              <a:rPr sz="945">
                <a:latin typeface="Montserrat"/>
                <a:cs typeface="Montserrat"/>
              </a:rPr>
              <a:t>modist atumque enimil ium quam </a:t>
            </a:r>
            <a:r>
              <a:rPr sz="945" spc="-3">
                <a:latin typeface="Montserrat"/>
                <a:cs typeface="Montserrat"/>
              </a:rPr>
              <a:t>ari </a:t>
            </a:r>
            <a:r>
              <a:rPr sz="945">
                <a:latin typeface="Montserrat"/>
                <a:cs typeface="Montserrat"/>
              </a:rPr>
              <a:t> nitas culla ne </a:t>
            </a:r>
            <a:r>
              <a:rPr sz="945" spc="-7">
                <a:latin typeface="Montserrat"/>
                <a:cs typeface="Montserrat"/>
              </a:rPr>
              <a:t>ra </a:t>
            </a:r>
            <a:r>
              <a:rPr sz="945" spc="-3">
                <a:latin typeface="Montserrat"/>
                <a:cs typeface="Montserrat"/>
              </a:rPr>
              <a:t>comnisint, </a:t>
            </a:r>
            <a:r>
              <a:rPr sz="945">
                <a:latin typeface="Montserrat"/>
                <a:cs typeface="Montserrat"/>
              </a:rPr>
              <a:t>ut hitatus a </a:t>
            </a:r>
            <a:r>
              <a:rPr sz="945" spc="-3">
                <a:latin typeface="Montserrat"/>
                <a:cs typeface="Montserrat"/>
              </a:rPr>
              <a:t>voluptas pa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emque </a:t>
            </a:r>
            <a:r>
              <a:rPr sz="945">
                <a:latin typeface="Montserrat"/>
                <a:cs typeface="Montserrat"/>
              </a:rPr>
              <a:t>nonsendis ni berum sed moluptat et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t as </a:t>
            </a:r>
            <a:r>
              <a:rPr sz="945" spc="-3">
                <a:latin typeface="Montserrat"/>
                <a:cs typeface="Montserrat"/>
              </a:rPr>
              <a:t>volor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olupid untur, </a:t>
            </a:r>
            <a:r>
              <a:rPr sz="945">
                <a:latin typeface="Montserrat"/>
                <a:cs typeface="Montserrat"/>
              </a:rPr>
              <a:t>quiae </a:t>
            </a:r>
            <a:r>
              <a:rPr sz="945" spc="-3">
                <a:latin typeface="Montserrat"/>
                <a:cs typeface="Montserrat"/>
              </a:rPr>
              <a:t>verum fugite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arum </a:t>
            </a:r>
            <a:r>
              <a:rPr sz="945" spc="-7">
                <a:latin typeface="Montserrat"/>
                <a:cs typeface="Montserrat"/>
              </a:rPr>
              <a:t>abo.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>
                <a:latin typeface="Montserrat"/>
                <a:cs typeface="Montserrat"/>
              </a:rPr>
              <a:t> e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pi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libus 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di</a:t>
            </a:r>
            <a:r>
              <a:rPr sz="945" spc="-3">
                <a:latin typeface="Montserrat"/>
                <a:cs typeface="Montserrat"/>
              </a:rPr>
              <a:t> beaquam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-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lorest, </a:t>
            </a:r>
            <a:r>
              <a:rPr sz="945">
                <a:latin typeface="Montserrat"/>
                <a:cs typeface="Montserrat"/>
              </a:rPr>
              <a:t>senihilitio </a:t>
            </a:r>
            <a:r>
              <a:rPr sz="945" spc="-3">
                <a:latin typeface="Montserrat"/>
                <a:cs typeface="Montserrat"/>
              </a:rPr>
              <a:t>beratibus </a:t>
            </a:r>
            <a:r>
              <a:rPr sz="945">
                <a:latin typeface="Montserrat"/>
                <a:cs typeface="Montserrat"/>
              </a:rPr>
              <a:t>peliciet et harum quiati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conseque </a:t>
            </a:r>
            <a:r>
              <a:rPr sz="945">
                <a:latin typeface="Montserrat"/>
                <a:cs typeface="Montserrat"/>
              </a:rPr>
              <a:t>nihil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inverum</a:t>
            </a:r>
            <a:r>
              <a:rPr sz="945">
                <a:latin typeface="Montserrat"/>
                <a:cs typeface="Montserrat"/>
              </a:rPr>
              <a:t> ilitatu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oditi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</a:t>
            </a:r>
            <a:r>
              <a:rPr sz="945">
                <a:latin typeface="Montserrat"/>
                <a:cs typeface="Montserrat"/>
              </a:rPr>
              <a:t> ma</a:t>
            </a:r>
          </a:p>
          <a:p>
            <a:pPr marL="8573" marR="37290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pa </a:t>
            </a:r>
            <a:r>
              <a:rPr sz="945">
                <a:latin typeface="Montserrat"/>
                <a:cs typeface="Montserrat"/>
              </a:rPr>
              <a:t>cuptio mil </a:t>
            </a:r>
            <a:r>
              <a:rPr sz="945" spc="-3">
                <a:latin typeface="Montserrat"/>
                <a:cs typeface="Montserrat"/>
              </a:rPr>
              <a:t>iuritam </a:t>
            </a:r>
            <a:r>
              <a:rPr sz="945">
                <a:latin typeface="Montserrat"/>
                <a:cs typeface="Montserrat"/>
              </a:rPr>
              <a:t>et </a:t>
            </a:r>
            <a:r>
              <a:rPr sz="945" spc="-7">
                <a:latin typeface="Montserrat"/>
                <a:cs typeface="Montserrat"/>
              </a:rPr>
              <a:t>volo </a:t>
            </a:r>
            <a:r>
              <a:rPr sz="945">
                <a:latin typeface="Montserrat"/>
                <a:cs typeface="Montserrat"/>
              </a:rPr>
              <a:t>quatibe </a:t>
            </a:r>
            <a:r>
              <a:rPr sz="945" spc="-3">
                <a:latin typeface="Montserrat"/>
                <a:cs typeface="Montserrat"/>
              </a:rPr>
              <a:t>rnatur </a:t>
            </a:r>
            <a:r>
              <a:rPr sz="945">
                <a:latin typeface="Montserrat"/>
                <a:cs typeface="Montserrat"/>
              </a:rPr>
              <a:t>sinum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busdam facim </a:t>
            </a:r>
            <a:r>
              <a:rPr sz="945">
                <a:latin typeface="Montserrat"/>
                <a:cs typeface="Montserrat"/>
              </a:rPr>
              <a:t>as ma est dem illaciam </a:t>
            </a:r>
            <a:r>
              <a:rPr sz="945" spc="-3">
                <a:latin typeface="Montserrat"/>
                <a:cs typeface="Montserrat"/>
              </a:rPr>
              <a:t>eaquo </a:t>
            </a:r>
            <a:r>
              <a:rPr sz="945">
                <a:latin typeface="Montserrat"/>
                <a:cs typeface="Montserrat"/>
              </a:rPr>
              <a:t> desed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expli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n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4">
                <a:latin typeface="Montserrat"/>
                <a:cs typeface="Montserrat"/>
              </a:rPr>
              <a:t>exce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tem </a:t>
            </a:r>
            <a:r>
              <a:rPr sz="945">
                <a:latin typeface="Montserrat"/>
                <a:cs typeface="Montserrat"/>
              </a:rPr>
              <a:t>ne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elic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itatur?</a:t>
            </a:r>
          </a:p>
          <a:p>
            <a:pPr marL="8573">
              <a:lnSpc>
                <a:spcPct val="100000"/>
              </a:lnSpc>
              <a:spcBef>
                <a:spcPts val="216"/>
              </a:spcBef>
            </a:pPr>
            <a:r>
              <a:rPr sz="945" spc="-7">
                <a:latin typeface="Montserrat"/>
                <a:cs typeface="Montserrat"/>
              </a:rPr>
              <a:t>Occatem re</a:t>
            </a:r>
            <a:r>
              <a:rPr sz="945" spc="-3">
                <a:latin typeface="Montserrat"/>
                <a:cs typeface="Montserrat"/>
              </a:rPr>
              <a:t> volupta erunto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e</a:t>
            </a:r>
            <a:r>
              <a:rPr sz="945" spc="-3">
                <a:latin typeface="Montserrat"/>
                <a:cs typeface="Montserrat"/>
              </a:rPr>
              <a:t> labo. </a:t>
            </a:r>
            <a:r>
              <a:rPr sz="945" spc="-10">
                <a:latin typeface="Montserrat"/>
                <a:cs typeface="Montserrat"/>
              </a:rPr>
              <a:t>Et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um </a:t>
            </a:r>
            <a:r>
              <a:rPr sz="945">
                <a:latin typeface="Montserrat"/>
                <a:cs typeface="Montserrat"/>
              </a:rPr>
              <a:t>nones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A6A1BF43-66F0-4B4C-8A92-5E7037502A00}"/>
              </a:ext>
            </a:extLst>
          </p:cNvPr>
          <p:cNvSpPr txBox="1"/>
          <p:nvPr userDrawn="1"/>
        </p:nvSpPr>
        <p:spPr>
          <a:xfrm>
            <a:off x="7948429" y="-4596829"/>
            <a:ext cx="3536156" cy="2937407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8573" marR="3429">
              <a:lnSpc>
                <a:spcPct val="119100"/>
              </a:lnSpc>
              <a:spcBef>
                <a:spcPts val="68"/>
              </a:spcBef>
            </a:pPr>
            <a:r>
              <a:rPr sz="945" spc="-20">
                <a:latin typeface="Montserrat"/>
                <a:cs typeface="Montserrat"/>
              </a:rPr>
              <a:t>Texte</a:t>
            </a:r>
            <a:r>
              <a:rPr sz="945" spc="-3">
                <a:latin typeface="Montserrat"/>
                <a:cs typeface="Montserrat"/>
              </a:rPr>
              <a:t> courant</a:t>
            </a:r>
            <a:r>
              <a:rPr sz="945">
                <a:latin typeface="Montserrat"/>
                <a:cs typeface="Montserrat"/>
              </a:rPr>
              <a:t> &gt;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10">
                <a:latin typeface="Montserrat"/>
                <a:cs typeface="Montserrat"/>
              </a:rPr>
              <a:t>Typo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Montserrat</a:t>
            </a:r>
            <a:r>
              <a:rPr sz="945">
                <a:latin typeface="Montserrat"/>
                <a:cs typeface="Montserrat"/>
              </a:rPr>
              <a:t> /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ps</a:t>
            </a:r>
            <a:r>
              <a:rPr sz="945">
                <a:latin typeface="Montserrat"/>
                <a:cs typeface="Montserrat"/>
              </a:rPr>
              <a:t> :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14 pt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udam, </a:t>
            </a:r>
            <a:r>
              <a:rPr sz="945" spc="-3">
                <a:latin typeface="Montserrat"/>
                <a:cs typeface="Montserrat"/>
              </a:rPr>
              <a:t>consequatem </a:t>
            </a:r>
            <a:r>
              <a:rPr sz="945">
                <a:latin typeface="Montserrat"/>
                <a:cs typeface="Montserrat"/>
              </a:rPr>
              <a:t>quodit latianis </a:t>
            </a:r>
            <a:r>
              <a:rPr sz="945" spc="-10">
                <a:latin typeface="Montserrat"/>
                <a:cs typeface="Montserrat"/>
              </a:rPr>
              <a:t>exere </a:t>
            </a:r>
            <a:r>
              <a:rPr sz="945">
                <a:latin typeface="Montserrat"/>
                <a:cs typeface="Montserrat"/>
              </a:rPr>
              <a:t>solestru-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ent alicabo </a:t>
            </a:r>
            <a:r>
              <a:rPr sz="945" spc="-3">
                <a:latin typeface="Montserrat"/>
                <a:cs typeface="Montserrat"/>
              </a:rPr>
              <a:t>rerspedita </a:t>
            </a:r>
            <a:r>
              <a:rPr sz="945">
                <a:latin typeface="Montserrat"/>
                <a:cs typeface="Montserrat"/>
              </a:rPr>
              <a:t>cuptibusa suntum quasima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gnatem doloreiu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soloreperum</a:t>
            </a:r>
            <a:r>
              <a:rPr sz="945">
                <a:latin typeface="Montserrat"/>
                <a:cs typeface="Montserrat"/>
              </a:rPr>
              <a:t> sa </a:t>
            </a:r>
            <a:r>
              <a:rPr sz="945" spc="-3">
                <a:latin typeface="Montserrat"/>
                <a:cs typeface="Montserrat"/>
              </a:rPr>
              <a:t>cuptatqui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rerio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tur, </a:t>
            </a:r>
            <a:r>
              <a:rPr sz="945">
                <a:latin typeface="Montserrat"/>
                <a:cs typeface="Montserrat"/>
              </a:rPr>
              <a:t>suntior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aute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haru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atiuste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nonsequat.</a:t>
            </a:r>
          </a:p>
          <a:p>
            <a:pPr marL="8573" marR="34719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Nequis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sandiasin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porum</a:t>
            </a:r>
            <a:r>
              <a:rPr sz="945" spc="-7">
                <a:latin typeface="Montserrat"/>
                <a:cs typeface="Montserrat"/>
              </a:rPr>
              <a:t> aceaquo </a:t>
            </a:r>
            <a:r>
              <a:rPr sz="945">
                <a:latin typeface="Montserrat"/>
                <a:cs typeface="Montserrat"/>
              </a:rPr>
              <a:t>int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ptaturest </a:t>
            </a:r>
            <a:r>
              <a:rPr sz="945">
                <a:latin typeface="Montserrat"/>
                <a:cs typeface="Montserrat"/>
              </a:rPr>
              <a:t>pe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in </a:t>
            </a:r>
            <a:r>
              <a:rPr sz="945" spc="-3">
                <a:latin typeface="Montserrat"/>
                <a:cs typeface="Montserrat"/>
              </a:rPr>
              <a:t>comnietur? </a:t>
            </a:r>
            <a:r>
              <a:rPr sz="945">
                <a:latin typeface="Montserrat"/>
                <a:cs typeface="Montserrat"/>
              </a:rPr>
              <a:t>Qui sinum alique de doluptaquis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os quas et </a:t>
            </a:r>
            <a:r>
              <a:rPr sz="945" spc="-3">
                <a:latin typeface="Montserrat"/>
                <a:cs typeface="Montserrat"/>
              </a:rPr>
              <a:t>eaquodit, </a:t>
            </a:r>
            <a:r>
              <a:rPr sz="945">
                <a:latin typeface="Montserrat"/>
                <a:cs typeface="Montserrat"/>
              </a:rPr>
              <a:t>cuptatur sequis </a:t>
            </a:r>
            <a:r>
              <a:rPr sz="945" spc="-7">
                <a:latin typeface="Montserrat"/>
                <a:cs typeface="Montserrat"/>
              </a:rPr>
              <a:t>vel </a:t>
            </a:r>
            <a:r>
              <a:rPr sz="945">
                <a:latin typeface="Montserrat"/>
                <a:cs typeface="Montserrat"/>
              </a:rPr>
              <a:t>idundae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core</a:t>
            </a:r>
            <a:r>
              <a:rPr sz="945" spc="-3">
                <a:latin typeface="Montserrat"/>
                <a:cs typeface="Montserrat"/>
              </a:rPr>
              <a:t> ventibusam,</a:t>
            </a:r>
            <a:r>
              <a:rPr sz="945">
                <a:latin typeface="Montserrat"/>
                <a:cs typeface="Montserrat"/>
              </a:rPr>
              <a:t> unt.</a:t>
            </a:r>
          </a:p>
          <a:p>
            <a:pPr marL="8573" marR="32576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Nonsero</a:t>
            </a:r>
            <a:r>
              <a:rPr sz="945" spc="41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volor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dis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doluptiore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perrori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ut</a:t>
            </a:r>
            <a:r>
              <a:rPr sz="945" spc="44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quunto 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ento</a:t>
            </a:r>
            <a:r>
              <a:rPr sz="945" spc="-3">
                <a:latin typeface="Montserrat"/>
                <a:cs typeface="Montserrat"/>
              </a:rPr>
              <a:t> dolumendiate</a:t>
            </a:r>
            <a:r>
              <a:rPr sz="945">
                <a:latin typeface="Montserrat"/>
                <a:cs typeface="Montserrat"/>
              </a:rPr>
              <a:t> sit, </a:t>
            </a:r>
            <a:r>
              <a:rPr sz="945" spc="-3">
                <a:latin typeface="Montserrat"/>
                <a:cs typeface="Montserrat"/>
              </a:rPr>
              <a:t>soluptatem </a:t>
            </a:r>
            <a:r>
              <a:rPr sz="945" spc="-7">
                <a:latin typeface="Montserrat"/>
                <a:cs typeface="Montserrat"/>
              </a:rPr>
              <a:t>excessit</a:t>
            </a:r>
            <a:r>
              <a:rPr sz="945">
                <a:latin typeface="Montserrat"/>
                <a:cs typeface="Montserrat"/>
              </a:rPr>
              <a:t> qui </a:t>
            </a:r>
            <a:r>
              <a:rPr sz="945" spc="-7">
                <a:latin typeface="Montserrat"/>
                <a:cs typeface="Montserrat"/>
              </a:rPr>
              <a:t>tem-</a:t>
            </a:r>
            <a:endParaRPr sz="945">
              <a:latin typeface="Montserrat"/>
              <a:cs typeface="Montserrat"/>
            </a:endParaRPr>
          </a:p>
          <a:p>
            <a:pPr marL="8573" marR="14573">
              <a:lnSpc>
                <a:spcPct val="119100"/>
              </a:lnSpc>
            </a:pPr>
            <a:r>
              <a:rPr sz="945">
                <a:latin typeface="Montserrat"/>
                <a:cs typeface="Montserrat"/>
              </a:rPr>
              <a:t>per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beatum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ressi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itae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pratenitas</a:t>
            </a:r>
            <a:r>
              <a:rPr sz="945" spc="-1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olupta</a:t>
            </a:r>
            <a:r>
              <a:rPr sz="945" spc="-7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qui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omnis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 et aut</a:t>
            </a:r>
            <a:r>
              <a:rPr sz="945" spc="-3">
                <a:latin typeface="Montserrat"/>
                <a:cs typeface="Montserrat"/>
              </a:rPr>
              <a:t> faccatur?</a:t>
            </a:r>
            <a:endParaRPr sz="945">
              <a:latin typeface="Montserrat"/>
              <a:cs typeface="Montserrat"/>
            </a:endParaRPr>
          </a:p>
          <a:p>
            <a:pPr marL="8573" marR="87868">
              <a:lnSpc>
                <a:spcPct val="119100"/>
              </a:lnSpc>
            </a:pPr>
            <a:r>
              <a:rPr sz="945" spc="-3">
                <a:latin typeface="Montserrat"/>
                <a:cs typeface="Montserrat"/>
              </a:rPr>
              <a:t>Genderes </a:t>
            </a:r>
            <a:r>
              <a:rPr sz="945">
                <a:latin typeface="Montserrat"/>
                <a:cs typeface="Montserrat"/>
              </a:rPr>
              <a:t>sitam, nonet </a:t>
            </a:r>
            <a:r>
              <a:rPr sz="945" spc="-7">
                <a:latin typeface="Montserrat"/>
                <a:cs typeface="Montserrat"/>
              </a:rPr>
              <a:t>re </a:t>
            </a:r>
            <a:r>
              <a:rPr sz="945" spc="-3">
                <a:latin typeface="Montserrat"/>
                <a:cs typeface="Montserrat"/>
              </a:rPr>
              <a:t>vendipit </a:t>
            </a:r>
            <a:r>
              <a:rPr sz="945">
                <a:latin typeface="Montserrat"/>
                <a:cs typeface="Montserrat"/>
              </a:rPr>
              <a:t>debit aut fuga. </a:t>
            </a:r>
            <a:r>
              <a:rPr sz="945" spc="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Ducit</a:t>
            </a:r>
            <a:r>
              <a:rPr sz="945" spc="-3">
                <a:latin typeface="Montserrat"/>
                <a:cs typeface="Montserrat"/>
              </a:rPr>
              <a:t> voluptatis</a:t>
            </a:r>
            <a:r>
              <a:rPr sz="945">
                <a:latin typeface="Montserrat"/>
                <a:cs typeface="Montserrat"/>
              </a:rPr>
              <a:t> asiti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as </a:t>
            </a:r>
            <a:r>
              <a:rPr sz="945" spc="-3">
                <a:latin typeface="Montserrat"/>
                <a:cs typeface="Montserrat"/>
              </a:rPr>
              <a:t>rendam explabor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3">
                <a:latin typeface="Montserrat"/>
                <a:cs typeface="Montserrat"/>
              </a:rPr>
              <a:t>accaectur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minumquodi quae </a:t>
            </a:r>
            <a:r>
              <a:rPr sz="945" spc="-3">
                <a:latin typeface="Montserrat"/>
                <a:cs typeface="Montserrat"/>
              </a:rPr>
              <a:t>odiaspero </a:t>
            </a:r>
            <a:r>
              <a:rPr sz="945" spc="-7">
                <a:latin typeface="Montserrat"/>
                <a:cs typeface="Montserrat"/>
              </a:rPr>
              <a:t>esto </a:t>
            </a:r>
            <a:r>
              <a:rPr sz="945">
                <a:latin typeface="Montserrat"/>
                <a:cs typeface="Montserrat"/>
              </a:rPr>
              <a:t>id mo </a:t>
            </a:r>
            <a:r>
              <a:rPr sz="945" spc="-7">
                <a:latin typeface="Montserrat"/>
                <a:cs typeface="Montserrat"/>
              </a:rPr>
              <a:t>tem </a:t>
            </a:r>
            <a:r>
              <a:rPr sz="945">
                <a:latin typeface="Montserrat"/>
                <a:cs typeface="Montserrat"/>
              </a:rPr>
              <a:t>nobi- </a:t>
            </a:r>
            <a:r>
              <a:rPr sz="945" spc="-240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tiam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incius por </a:t>
            </a:r>
            <a:r>
              <a:rPr sz="945" spc="-3">
                <a:latin typeface="Montserrat"/>
                <a:cs typeface="Montserrat"/>
              </a:rPr>
              <a:t>rest, </a:t>
            </a:r>
            <a:r>
              <a:rPr sz="945">
                <a:latin typeface="Montserrat"/>
                <a:cs typeface="Montserrat"/>
              </a:rPr>
              <a:t>ut </a:t>
            </a:r>
            <a:r>
              <a:rPr sz="945" spc="-3">
                <a:latin typeface="Montserrat"/>
                <a:cs typeface="Montserrat"/>
              </a:rPr>
              <a:t>rehene</a:t>
            </a:r>
            <a:r>
              <a:rPr sz="945">
                <a:latin typeface="Montserrat"/>
                <a:cs typeface="Montserrat"/>
              </a:rPr>
              <a:t> </a:t>
            </a:r>
            <a:r>
              <a:rPr sz="945" spc="-7">
                <a:latin typeface="Montserrat"/>
                <a:cs typeface="Montserrat"/>
              </a:rPr>
              <a:t>velecto</a:t>
            </a:r>
            <a:r>
              <a:rPr sz="945" spc="-3">
                <a:latin typeface="Montserrat"/>
                <a:cs typeface="Montserrat"/>
              </a:rPr>
              <a:t> </a:t>
            </a:r>
            <a:r>
              <a:rPr sz="945">
                <a:latin typeface="Montserrat"/>
                <a:cs typeface="Montserrat"/>
              </a:rPr>
              <a:t>et.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1AAD0362-39C1-AF47-974F-07E65F2E614D}"/>
              </a:ext>
            </a:extLst>
          </p:cNvPr>
          <p:cNvSpPr/>
          <p:nvPr userDrawn="1"/>
        </p:nvSpPr>
        <p:spPr>
          <a:xfrm>
            <a:off x="76583" y="-4860192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1C786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DB9DD2CC-77E2-9243-81D0-1AFB14378475}"/>
              </a:ext>
            </a:extLst>
          </p:cNvPr>
          <p:cNvSpPr/>
          <p:nvPr userDrawn="1"/>
        </p:nvSpPr>
        <p:spPr>
          <a:xfrm>
            <a:off x="4014038" y="-4856069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3A16EAAE-8C92-934F-BADB-0F21C3BF8935}"/>
              </a:ext>
            </a:extLst>
          </p:cNvPr>
          <p:cNvSpPr/>
          <p:nvPr userDrawn="1"/>
        </p:nvSpPr>
        <p:spPr>
          <a:xfrm>
            <a:off x="7929149" y="-4846838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00C9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" name="Holder 2">
            <a:extLst>
              <a:ext uri="{FF2B5EF4-FFF2-40B4-BE49-F238E27FC236}">
                <a16:creationId xmlns:a16="http://schemas.microsoft.com/office/drawing/2014/main" id="{FECD3433-65F0-3B42-9612-01BF52750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2900"/>
            <a:ext cx="8048626" cy="62324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4050" b="1" i="0">
                <a:solidFill>
                  <a:srgbClr val="00C9FF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7B09DAE7-2388-C347-BCEB-734720B431A6}"/>
              </a:ext>
            </a:extLst>
          </p:cNvPr>
          <p:cNvSpPr/>
          <p:nvPr userDrawn="1"/>
        </p:nvSpPr>
        <p:spPr>
          <a:xfrm>
            <a:off x="381000" y="2591584"/>
            <a:ext cx="3562350" cy="48006"/>
          </a:xfrm>
          <a:custGeom>
            <a:avLst/>
            <a:gdLst/>
            <a:ahLst/>
            <a:cxnLst/>
            <a:rect l="l" t="t" r="r" b="b"/>
            <a:pathLst>
              <a:path w="4749800" h="71120">
                <a:moveTo>
                  <a:pt x="1693077" y="0"/>
                </a:moveTo>
                <a:lnTo>
                  <a:pt x="1289370" y="746"/>
                </a:lnTo>
                <a:lnTo>
                  <a:pt x="930433" y="3396"/>
                </a:lnTo>
                <a:lnTo>
                  <a:pt x="617051" y="7429"/>
                </a:lnTo>
                <a:lnTo>
                  <a:pt x="297142" y="13317"/>
                </a:lnTo>
                <a:lnTo>
                  <a:pt x="24714" y="19799"/>
                </a:lnTo>
                <a:lnTo>
                  <a:pt x="0" y="45860"/>
                </a:lnTo>
                <a:lnTo>
                  <a:pt x="2185" y="55542"/>
                </a:lnTo>
                <a:lnTo>
                  <a:pt x="7677" y="63395"/>
                </a:lnTo>
                <a:lnTo>
                  <a:pt x="15673" y="68663"/>
                </a:lnTo>
                <a:lnTo>
                  <a:pt x="25374" y="70587"/>
                </a:lnTo>
                <a:lnTo>
                  <a:pt x="80962" y="69159"/>
                </a:lnTo>
                <a:lnTo>
                  <a:pt x="352053" y="62985"/>
                </a:lnTo>
                <a:lnTo>
                  <a:pt x="617945" y="58224"/>
                </a:lnTo>
                <a:lnTo>
                  <a:pt x="931113" y="54198"/>
                </a:lnTo>
                <a:lnTo>
                  <a:pt x="1289825" y="51551"/>
                </a:lnTo>
                <a:lnTo>
                  <a:pt x="1693298" y="50806"/>
                </a:lnTo>
                <a:lnTo>
                  <a:pt x="2192005" y="52534"/>
                </a:lnTo>
                <a:lnTo>
                  <a:pt x="4148916" y="68893"/>
                </a:lnTo>
                <a:lnTo>
                  <a:pt x="4724387" y="70587"/>
                </a:lnTo>
                <a:lnTo>
                  <a:pt x="4734271" y="68590"/>
                </a:lnTo>
                <a:lnTo>
                  <a:pt x="4742345" y="63144"/>
                </a:lnTo>
                <a:lnTo>
                  <a:pt x="4747790" y="55070"/>
                </a:lnTo>
                <a:lnTo>
                  <a:pt x="4749787" y="45187"/>
                </a:lnTo>
                <a:lnTo>
                  <a:pt x="4747790" y="35303"/>
                </a:lnTo>
                <a:lnTo>
                  <a:pt x="4742345" y="27229"/>
                </a:lnTo>
                <a:lnTo>
                  <a:pt x="4734271" y="21784"/>
                </a:lnTo>
                <a:lnTo>
                  <a:pt x="4724387" y="19787"/>
                </a:lnTo>
                <a:lnTo>
                  <a:pt x="4618615" y="19724"/>
                </a:lnTo>
                <a:lnTo>
                  <a:pt x="4097609" y="17797"/>
                </a:lnTo>
                <a:lnTo>
                  <a:pt x="2291520" y="2350"/>
                </a:lnTo>
                <a:lnTo>
                  <a:pt x="1693077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E7C9AD8D-357B-6341-AF9D-214785F51F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203237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27" name="Holder 3">
            <a:extLst>
              <a:ext uri="{FF2B5EF4-FFF2-40B4-BE49-F238E27FC236}">
                <a16:creationId xmlns:a16="http://schemas.microsoft.com/office/drawing/2014/main" id="{CB072564-2C08-D142-AE94-881776506A3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232764" y="2821117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8" name="object 13">
            <a:extLst>
              <a:ext uri="{FF2B5EF4-FFF2-40B4-BE49-F238E27FC236}">
                <a16:creationId xmlns:a16="http://schemas.microsoft.com/office/drawing/2014/main" id="{390FC6E3-E7DF-7349-820B-62C9B2FE4B59}"/>
              </a:ext>
            </a:extLst>
          </p:cNvPr>
          <p:cNvSpPr/>
          <p:nvPr userDrawn="1"/>
        </p:nvSpPr>
        <p:spPr>
          <a:xfrm>
            <a:off x="4212433" y="2607754"/>
            <a:ext cx="3562350" cy="46292"/>
          </a:xfrm>
          <a:custGeom>
            <a:avLst/>
            <a:gdLst/>
            <a:ahLst/>
            <a:cxnLst/>
            <a:rect l="l" t="t" r="r" b="b"/>
            <a:pathLst>
              <a:path w="4749800" h="68579">
                <a:moveTo>
                  <a:pt x="3416033" y="0"/>
                </a:moveTo>
                <a:lnTo>
                  <a:pt x="3021227" y="1482"/>
                </a:lnTo>
                <a:lnTo>
                  <a:pt x="1389952" y="15812"/>
                </a:lnTo>
                <a:lnTo>
                  <a:pt x="840283" y="17656"/>
                </a:lnTo>
                <a:lnTo>
                  <a:pt x="416696" y="16668"/>
                </a:lnTo>
                <a:lnTo>
                  <a:pt x="25653" y="13684"/>
                </a:lnTo>
                <a:lnTo>
                  <a:pt x="15578" y="15650"/>
                </a:lnTo>
                <a:lnTo>
                  <a:pt x="7532" y="21021"/>
                </a:lnTo>
                <a:lnTo>
                  <a:pt x="2070" y="29007"/>
                </a:lnTo>
                <a:lnTo>
                  <a:pt x="0" y="38817"/>
                </a:lnTo>
                <a:lnTo>
                  <a:pt x="1896" y="48727"/>
                </a:lnTo>
                <a:lnTo>
                  <a:pt x="381008" y="67277"/>
                </a:lnTo>
                <a:lnTo>
                  <a:pt x="815289" y="68459"/>
                </a:lnTo>
                <a:lnTo>
                  <a:pt x="923555" y="68389"/>
                </a:lnTo>
                <a:lnTo>
                  <a:pt x="1394991" y="66580"/>
                </a:lnTo>
                <a:lnTo>
                  <a:pt x="3070349" y="52000"/>
                </a:lnTo>
                <a:lnTo>
                  <a:pt x="3515557" y="50768"/>
                </a:lnTo>
                <a:lnTo>
                  <a:pt x="3869598" y="51939"/>
                </a:lnTo>
                <a:lnTo>
                  <a:pt x="4181306" y="54843"/>
                </a:lnTo>
                <a:lnTo>
                  <a:pt x="4448509" y="58843"/>
                </a:lnTo>
                <a:lnTo>
                  <a:pt x="4723803" y="64471"/>
                </a:lnTo>
                <a:lnTo>
                  <a:pt x="4734133" y="62550"/>
                </a:lnTo>
                <a:lnTo>
                  <a:pt x="4742133" y="57258"/>
                </a:lnTo>
                <a:lnTo>
                  <a:pt x="4747617" y="49375"/>
                </a:lnTo>
                <a:lnTo>
                  <a:pt x="4749787" y="39668"/>
                </a:lnTo>
                <a:lnTo>
                  <a:pt x="4748022" y="29740"/>
                </a:lnTo>
                <a:lnTo>
                  <a:pt x="4613727" y="11232"/>
                </a:lnTo>
                <a:lnTo>
                  <a:pt x="4341581" y="6265"/>
                </a:lnTo>
                <a:lnTo>
                  <a:pt x="4077054" y="2860"/>
                </a:lnTo>
                <a:lnTo>
                  <a:pt x="3767931" y="576"/>
                </a:lnTo>
                <a:lnTo>
                  <a:pt x="3416033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1369390D-C134-F946-8C9D-A4A786C6787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56932" y="2819564"/>
            <a:ext cx="3591339" cy="276999"/>
          </a:xfrm>
        </p:spPr>
        <p:txBody>
          <a:bodyPr lIns="0" tIns="0" rIns="0" bIns="0"/>
          <a:lstStyle>
            <a:lvl1pPr marL="0" algn="l" rtl="0"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30" name="object 14">
            <a:extLst>
              <a:ext uri="{FF2B5EF4-FFF2-40B4-BE49-F238E27FC236}">
                <a16:creationId xmlns:a16="http://schemas.microsoft.com/office/drawing/2014/main" id="{41DE161D-AB82-E24F-A775-55ECD2A5E65A}"/>
              </a:ext>
            </a:extLst>
          </p:cNvPr>
          <p:cNvSpPr/>
          <p:nvPr userDrawn="1"/>
        </p:nvSpPr>
        <p:spPr>
          <a:xfrm>
            <a:off x="8193883" y="2608836"/>
            <a:ext cx="3562350" cy="41576"/>
          </a:xfrm>
          <a:custGeom>
            <a:avLst/>
            <a:gdLst/>
            <a:ahLst/>
            <a:cxnLst/>
            <a:rect l="l" t="t" r="r" b="b"/>
            <a:pathLst>
              <a:path w="4749800" h="61595">
                <a:moveTo>
                  <a:pt x="4724400" y="0"/>
                </a:moveTo>
                <a:lnTo>
                  <a:pt x="4461159" y="194"/>
                </a:lnTo>
                <a:lnTo>
                  <a:pt x="2106247" y="9638"/>
                </a:lnTo>
                <a:lnTo>
                  <a:pt x="1201485" y="9584"/>
                </a:lnTo>
                <a:lnTo>
                  <a:pt x="573421" y="5970"/>
                </a:lnTo>
                <a:lnTo>
                  <a:pt x="25730" y="0"/>
                </a:lnTo>
                <a:lnTo>
                  <a:pt x="15594" y="1959"/>
                </a:lnTo>
                <a:lnTo>
                  <a:pt x="7559" y="7315"/>
                </a:lnTo>
                <a:lnTo>
                  <a:pt x="2091" y="15280"/>
                </a:lnTo>
                <a:lnTo>
                  <a:pt x="0" y="25069"/>
                </a:lnTo>
                <a:lnTo>
                  <a:pt x="1863" y="34985"/>
                </a:lnTo>
                <a:lnTo>
                  <a:pt x="396374" y="55140"/>
                </a:lnTo>
                <a:lnTo>
                  <a:pt x="958121" y="59373"/>
                </a:lnTo>
                <a:lnTo>
                  <a:pt x="1644942" y="61061"/>
                </a:lnTo>
                <a:lnTo>
                  <a:pt x="1796447" y="60989"/>
                </a:lnTo>
                <a:lnTo>
                  <a:pt x="4724400" y="50799"/>
                </a:lnTo>
                <a:lnTo>
                  <a:pt x="4749800" y="25399"/>
                </a:lnTo>
                <a:lnTo>
                  <a:pt x="4747802" y="15516"/>
                </a:lnTo>
                <a:lnTo>
                  <a:pt x="4742357" y="7442"/>
                </a:lnTo>
                <a:lnTo>
                  <a:pt x="4734283" y="1997"/>
                </a:lnTo>
                <a:lnTo>
                  <a:pt x="47244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2" name="Espace réservé du texte 24">
            <a:extLst>
              <a:ext uri="{FF2B5EF4-FFF2-40B4-BE49-F238E27FC236}">
                <a16:creationId xmlns:a16="http://schemas.microsoft.com/office/drawing/2014/main" id="{5F55C061-0C43-C141-B996-52017CE3BF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04813" y="2046826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3" name="Espace réservé du texte 24">
            <a:extLst>
              <a:ext uri="{FF2B5EF4-FFF2-40B4-BE49-F238E27FC236}">
                <a16:creationId xmlns:a16="http://schemas.microsoft.com/office/drawing/2014/main" id="{367809F1-48EC-7543-A2D7-ADEFBBD52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45577" y="2058690"/>
            <a:ext cx="3591160" cy="401777"/>
          </a:xfrm>
        </p:spPr>
        <p:txBody>
          <a:bodyPr/>
          <a:lstStyle>
            <a:lvl1pPr marL="8573" marR="3429">
              <a:lnSpc>
                <a:spcPct val="111100"/>
              </a:lnSpc>
              <a:spcBef>
                <a:spcPts val="68"/>
              </a:spcBef>
              <a:defRPr/>
            </a:lvl1pPr>
          </a:lstStyle>
          <a:p>
            <a:pPr marL="12700" marR="5080">
              <a:lnSpc>
                <a:spcPct val="111100"/>
              </a:lnSpc>
              <a:spcBef>
                <a:spcPts val="100"/>
              </a:spcBef>
            </a:pPr>
            <a:r>
              <a:rPr lang="fr-FR" sz="1215" b="1" spc="-7">
                <a:latin typeface="Montserrat"/>
                <a:cs typeface="Montserrat"/>
              </a:rPr>
              <a:t>Cliquez pour ajouter un titre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sur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2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lignes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maximum</a:t>
            </a:r>
            <a:r>
              <a:rPr lang="fr-FR" sz="1215" b="1" spc="-10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/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 spc="-10">
                <a:latin typeface="Montserrat"/>
                <a:cs typeface="Montserrat"/>
              </a:rPr>
              <a:t>Typo</a:t>
            </a:r>
            <a:r>
              <a:rPr lang="fr-FR" sz="1215" b="1" spc="-7">
                <a:latin typeface="Montserrat"/>
                <a:cs typeface="Montserrat"/>
              </a:rPr>
              <a:t> </a:t>
            </a:r>
            <a:r>
              <a:rPr lang="fr-FR" sz="1215" b="1">
                <a:latin typeface="Montserrat"/>
                <a:cs typeface="Montserrat"/>
              </a:rPr>
              <a:t>: </a:t>
            </a:r>
            <a:r>
              <a:rPr lang="fr-FR" sz="1215" b="1" spc="-334">
                <a:latin typeface="Montserrat"/>
                <a:cs typeface="Montserrat"/>
              </a:rPr>
              <a:t> </a:t>
            </a:r>
            <a:r>
              <a:rPr lang="fr-FR" sz="1215" b="1" spc="-3">
                <a:latin typeface="Montserrat"/>
                <a:cs typeface="Montserrat"/>
              </a:rPr>
              <a:t>Montserrat</a:t>
            </a:r>
            <a:endParaRPr lang="fr-FR" sz="1215">
              <a:latin typeface="Montserrat"/>
              <a:cs typeface="Montserrat"/>
            </a:endParaRPr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AE7EB8FA-125F-4978-AE76-04A0AC1BB29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28921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" name="Holder 2">
            <a:extLst>
              <a:ext uri="{FF2B5EF4-FFF2-40B4-BE49-F238E27FC236}">
                <a16:creationId xmlns:a16="http://schemas.microsoft.com/office/drawing/2014/main" id="{FECD3433-65F0-3B42-9612-01BF52750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041" y="355968"/>
            <a:ext cx="8048626" cy="62324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4050" b="1" i="0">
                <a:solidFill>
                  <a:srgbClr val="1C7862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160" name="object 22">
            <a:extLst>
              <a:ext uri="{FF2B5EF4-FFF2-40B4-BE49-F238E27FC236}">
                <a16:creationId xmlns:a16="http://schemas.microsoft.com/office/drawing/2014/main" id="{98049034-375B-5542-A92F-3D0406F67593}"/>
              </a:ext>
            </a:extLst>
          </p:cNvPr>
          <p:cNvSpPr/>
          <p:nvPr userDrawn="1"/>
        </p:nvSpPr>
        <p:spPr>
          <a:xfrm>
            <a:off x="539556" y="2456833"/>
            <a:ext cx="2055019" cy="365188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1" name="object 22">
            <a:extLst>
              <a:ext uri="{FF2B5EF4-FFF2-40B4-BE49-F238E27FC236}">
                <a16:creationId xmlns:a16="http://schemas.microsoft.com/office/drawing/2014/main" id="{5F0E8CA3-FF29-8E42-AB88-1667B629AB6C}"/>
              </a:ext>
            </a:extLst>
          </p:cNvPr>
          <p:cNvSpPr/>
          <p:nvPr userDrawn="1"/>
        </p:nvSpPr>
        <p:spPr>
          <a:xfrm>
            <a:off x="2786512" y="2456833"/>
            <a:ext cx="2055019" cy="365188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2" name="object 22">
            <a:extLst>
              <a:ext uri="{FF2B5EF4-FFF2-40B4-BE49-F238E27FC236}">
                <a16:creationId xmlns:a16="http://schemas.microsoft.com/office/drawing/2014/main" id="{CA80C39E-E8B1-1A49-89D5-77227D07650A}"/>
              </a:ext>
            </a:extLst>
          </p:cNvPr>
          <p:cNvSpPr/>
          <p:nvPr userDrawn="1"/>
        </p:nvSpPr>
        <p:spPr>
          <a:xfrm>
            <a:off x="5033469" y="2456833"/>
            <a:ext cx="2055019" cy="365188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3" name="object 22">
            <a:extLst>
              <a:ext uri="{FF2B5EF4-FFF2-40B4-BE49-F238E27FC236}">
                <a16:creationId xmlns:a16="http://schemas.microsoft.com/office/drawing/2014/main" id="{978AFDEE-F2EB-4F49-BE7D-70F61DCC813F}"/>
              </a:ext>
            </a:extLst>
          </p:cNvPr>
          <p:cNvSpPr/>
          <p:nvPr userDrawn="1"/>
        </p:nvSpPr>
        <p:spPr>
          <a:xfrm>
            <a:off x="7280425" y="2456833"/>
            <a:ext cx="2055019" cy="365188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4" name="object 22">
            <a:extLst>
              <a:ext uri="{FF2B5EF4-FFF2-40B4-BE49-F238E27FC236}">
                <a16:creationId xmlns:a16="http://schemas.microsoft.com/office/drawing/2014/main" id="{ABAA9A26-6BD3-744B-B068-ADD5BBE695EB}"/>
              </a:ext>
            </a:extLst>
          </p:cNvPr>
          <p:cNvSpPr/>
          <p:nvPr userDrawn="1"/>
        </p:nvSpPr>
        <p:spPr>
          <a:xfrm>
            <a:off x="9527382" y="2456833"/>
            <a:ext cx="2055019" cy="365188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A48461A-87F3-284E-8D42-5B7667EAFF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05160" y="2599672"/>
            <a:ext cx="1243957" cy="207749"/>
          </a:xfrm>
        </p:spPr>
        <p:txBody>
          <a:bodyPr/>
          <a:lstStyle>
            <a:lvl1pPr>
              <a:defRPr sz="675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CCF12A6A-6CD6-2B4D-9425-5E45208996C6}"/>
              </a:ext>
            </a:extLst>
          </p:cNvPr>
          <p:cNvGrpSpPr/>
          <p:nvPr userDrawn="1"/>
        </p:nvGrpSpPr>
        <p:grpSpPr>
          <a:xfrm>
            <a:off x="666244" y="2575242"/>
            <a:ext cx="384920" cy="346428"/>
            <a:chOff x="869359" y="4463807"/>
            <a:chExt cx="513227" cy="513227"/>
          </a:xfrm>
        </p:grpSpPr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F7222873-0622-E54B-BBED-731C16D1EFE9}"/>
                </a:ext>
              </a:extLst>
            </p:cNvPr>
            <p:cNvSpPr/>
            <p:nvPr userDrawn="1"/>
          </p:nvSpPr>
          <p:spPr>
            <a:xfrm>
              <a:off x="869359" y="4463807"/>
              <a:ext cx="513227" cy="5132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15">
                <a:ln>
                  <a:noFill/>
                </a:ln>
              </a:endParaRPr>
            </a:p>
          </p:txBody>
        </p:sp>
        <p:pic>
          <p:nvPicPr>
            <p:cNvPr id="168" name="object 34">
              <a:extLst>
                <a:ext uri="{FF2B5EF4-FFF2-40B4-BE49-F238E27FC236}">
                  <a16:creationId xmlns:a16="http://schemas.microsoft.com/office/drawing/2014/main" id="{3B3A46AE-66FB-EF48-BC71-94EE0305943C}"/>
                </a:ext>
              </a:extLst>
            </p:cNvPr>
            <p:cNvPicPr/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985806" y="4547239"/>
              <a:ext cx="286873" cy="346362"/>
            </a:xfrm>
            <a:prstGeom prst="rect">
              <a:avLst/>
            </a:prstGeom>
          </p:spPr>
        </p:pic>
      </p:grpSp>
      <p:sp>
        <p:nvSpPr>
          <p:cNvPr id="169" name="Holder 3">
            <a:extLst>
              <a:ext uri="{FF2B5EF4-FFF2-40B4-BE49-F238E27FC236}">
                <a16:creationId xmlns:a16="http://schemas.microsoft.com/office/drawing/2014/main" id="{524A4978-7786-E840-B3E7-FE7E6DE67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42" y="3030001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70" name="object 12">
            <a:extLst>
              <a:ext uri="{FF2B5EF4-FFF2-40B4-BE49-F238E27FC236}">
                <a16:creationId xmlns:a16="http://schemas.microsoft.com/office/drawing/2014/main" id="{45ABDF64-528E-4740-A069-BEAC3C5F9E63}"/>
              </a:ext>
            </a:extLst>
          </p:cNvPr>
          <p:cNvSpPr/>
          <p:nvPr userDrawn="1"/>
        </p:nvSpPr>
        <p:spPr>
          <a:xfrm>
            <a:off x="2798922" y="1680210"/>
            <a:ext cx="2382679" cy="651939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1" name="object 12">
            <a:extLst>
              <a:ext uri="{FF2B5EF4-FFF2-40B4-BE49-F238E27FC236}">
                <a16:creationId xmlns:a16="http://schemas.microsoft.com/office/drawing/2014/main" id="{D08016B5-E39A-4C4E-BC49-EDB03A582887}"/>
              </a:ext>
            </a:extLst>
          </p:cNvPr>
          <p:cNvSpPr/>
          <p:nvPr userDrawn="1"/>
        </p:nvSpPr>
        <p:spPr>
          <a:xfrm>
            <a:off x="5068296" y="1680210"/>
            <a:ext cx="2382679" cy="651939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2" name="object 12">
            <a:extLst>
              <a:ext uri="{FF2B5EF4-FFF2-40B4-BE49-F238E27FC236}">
                <a16:creationId xmlns:a16="http://schemas.microsoft.com/office/drawing/2014/main" id="{99E55F4E-A547-0148-98D8-6F009103C81E}"/>
              </a:ext>
            </a:extLst>
          </p:cNvPr>
          <p:cNvSpPr/>
          <p:nvPr userDrawn="1"/>
        </p:nvSpPr>
        <p:spPr>
          <a:xfrm>
            <a:off x="7326592" y="1680210"/>
            <a:ext cx="2382679" cy="651939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3" name="object 12">
            <a:extLst>
              <a:ext uri="{FF2B5EF4-FFF2-40B4-BE49-F238E27FC236}">
                <a16:creationId xmlns:a16="http://schemas.microsoft.com/office/drawing/2014/main" id="{8D3CA7E7-DFBE-CA49-A67F-16528F3EEFBF}"/>
              </a:ext>
            </a:extLst>
          </p:cNvPr>
          <p:cNvSpPr/>
          <p:nvPr userDrawn="1"/>
        </p:nvSpPr>
        <p:spPr>
          <a:xfrm>
            <a:off x="9595967" y="1680210"/>
            <a:ext cx="2382679" cy="651939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4" name="object 12">
            <a:extLst>
              <a:ext uri="{FF2B5EF4-FFF2-40B4-BE49-F238E27FC236}">
                <a16:creationId xmlns:a16="http://schemas.microsoft.com/office/drawing/2014/main" id="{4C811BEB-AA77-BF48-AB78-40DCB36E09F9}"/>
              </a:ext>
            </a:extLst>
          </p:cNvPr>
          <p:cNvSpPr/>
          <p:nvPr userDrawn="1"/>
        </p:nvSpPr>
        <p:spPr>
          <a:xfrm>
            <a:off x="540626" y="1693036"/>
            <a:ext cx="2382327" cy="651638"/>
          </a:xfrm>
          <a:custGeom>
            <a:avLst/>
            <a:gdLst>
              <a:gd name="connsiteX0" fmla="*/ 2744355 w 3176435"/>
              <a:gd name="connsiteY0" fmla="*/ 0 h 965390"/>
              <a:gd name="connsiteX1" fmla="*/ 0 w 3176435"/>
              <a:gd name="connsiteY1" fmla="*/ 0 h 965390"/>
              <a:gd name="connsiteX2" fmla="*/ 0 w 3176435"/>
              <a:gd name="connsiteY2" fmla="*/ 12115 h 965390"/>
              <a:gd name="connsiteX3" fmla="*/ 0 w 3176435"/>
              <a:gd name="connsiteY3" fmla="*/ 937056 h 965390"/>
              <a:gd name="connsiteX4" fmla="*/ 0 w 3176435"/>
              <a:gd name="connsiteY4" fmla="*/ 965390 h 965390"/>
              <a:gd name="connsiteX5" fmla="*/ 2744355 w 3176435"/>
              <a:gd name="connsiteY5" fmla="*/ 965390 h 965390"/>
              <a:gd name="connsiteX6" fmla="*/ 2744355 w 3176435"/>
              <a:gd name="connsiteY6" fmla="*/ 949172 h 965390"/>
              <a:gd name="connsiteX7" fmla="*/ 3176435 w 3176435"/>
              <a:gd name="connsiteY7" fmla="*/ 474586 h 965390"/>
              <a:gd name="connsiteX8" fmla="*/ 2744355 w 3176435"/>
              <a:gd name="connsiteY8" fmla="*/ 0 h 96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6435" h="965390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5" name="Espace réservé du texte 3">
            <a:extLst>
              <a:ext uri="{FF2B5EF4-FFF2-40B4-BE49-F238E27FC236}">
                <a16:creationId xmlns:a16="http://schemas.microsoft.com/office/drawing/2014/main" id="{B1CBC322-F184-514A-98DB-E48118D56A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5226" y="1867082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6" name="Espace réservé du texte 3">
            <a:extLst>
              <a:ext uri="{FF2B5EF4-FFF2-40B4-BE49-F238E27FC236}">
                <a16:creationId xmlns:a16="http://schemas.microsoft.com/office/drawing/2014/main" id="{B76BB0AF-ADB1-DE43-AB88-5F092C8517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7594" y="1867082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7" name="Espace réservé du texte 3">
            <a:extLst>
              <a:ext uri="{FF2B5EF4-FFF2-40B4-BE49-F238E27FC236}">
                <a16:creationId xmlns:a16="http://schemas.microsoft.com/office/drawing/2014/main" id="{8EE80F72-F106-BC48-8DF2-706288472D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52170" y="1867082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8" name="Espace réservé du texte 3">
            <a:extLst>
              <a:ext uri="{FF2B5EF4-FFF2-40B4-BE49-F238E27FC236}">
                <a16:creationId xmlns:a16="http://schemas.microsoft.com/office/drawing/2014/main" id="{AD6DAB6D-4099-2945-B6DC-E83B12DC43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73088" y="1867082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9" name="Espace réservé du texte 3">
            <a:extLst>
              <a:ext uri="{FF2B5EF4-FFF2-40B4-BE49-F238E27FC236}">
                <a16:creationId xmlns:a16="http://schemas.microsoft.com/office/drawing/2014/main" id="{06D32F52-4D78-1644-B919-8258EC6B28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07598" y="1867082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81" name="Espace réservé du texte 3">
            <a:extLst>
              <a:ext uri="{FF2B5EF4-FFF2-40B4-BE49-F238E27FC236}">
                <a16:creationId xmlns:a16="http://schemas.microsoft.com/office/drawing/2014/main" id="{9A370153-9089-F046-9599-E3C4922A63C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68219" y="2599672"/>
            <a:ext cx="1243957" cy="207749"/>
          </a:xfrm>
        </p:spPr>
        <p:txBody>
          <a:bodyPr/>
          <a:lstStyle>
            <a:lvl1pPr>
              <a:defRPr sz="675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0C74B0E0-8A5B-7046-BEB8-D2E43A8F0DD4}"/>
              </a:ext>
            </a:extLst>
          </p:cNvPr>
          <p:cNvSpPr/>
          <p:nvPr userDrawn="1"/>
        </p:nvSpPr>
        <p:spPr>
          <a:xfrm>
            <a:off x="2929303" y="2575242"/>
            <a:ext cx="384920" cy="346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185" name="Holder 3">
            <a:extLst>
              <a:ext uri="{FF2B5EF4-FFF2-40B4-BE49-F238E27FC236}">
                <a16:creationId xmlns:a16="http://schemas.microsoft.com/office/drawing/2014/main" id="{86680BFB-231D-1D48-8DC9-261F44ABE321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2945701" y="3030001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86" name="Espace réservé du texte 3">
            <a:extLst>
              <a:ext uri="{FF2B5EF4-FFF2-40B4-BE49-F238E27FC236}">
                <a16:creationId xmlns:a16="http://schemas.microsoft.com/office/drawing/2014/main" id="{027B20CA-FA7F-1E4E-848A-21FE0BF40F7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09294" y="2599672"/>
            <a:ext cx="1243957" cy="207749"/>
          </a:xfrm>
        </p:spPr>
        <p:txBody>
          <a:bodyPr/>
          <a:lstStyle>
            <a:lvl1pPr>
              <a:defRPr sz="675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88" name="Ellipse 187">
            <a:extLst>
              <a:ext uri="{FF2B5EF4-FFF2-40B4-BE49-F238E27FC236}">
                <a16:creationId xmlns:a16="http://schemas.microsoft.com/office/drawing/2014/main" id="{868E2F23-1E13-C547-801B-8222B13B9580}"/>
              </a:ext>
            </a:extLst>
          </p:cNvPr>
          <p:cNvSpPr/>
          <p:nvPr userDrawn="1"/>
        </p:nvSpPr>
        <p:spPr>
          <a:xfrm>
            <a:off x="5170378" y="2575242"/>
            <a:ext cx="384920" cy="346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190" name="Holder 3">
            <a:extLst>
              <a:ext uri="{FF2B5EF4-FFF2-40B4-BE49-F238E27FC236}">
                <a16:creationId xmlns:a16="http://schemas.microsoft.com/office/drawing/2014/main" id="{1CF957DE-728E-D642-B01C-606090C2BA3E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5186776" y="3030001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1" name="Espace réservé du texte 3">
            <a:extLst>
              <a:ext uri="{FF2B5EF4-FFF2-40B4-BE49-F238E27FC236}">
                <a16:creationId xmlns:a16="http://schemas.microsoft.com/office/drawing/2014/main" id="{6F93E656-9AB4-BC4E-B61E-EABBAFD0028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944494" y="2611102"/>
            <a:ext cx="1243957" cy="207749"/>
          </a:xfrm>
        </p:spPr>
        <p:txBody>
          <a:bodyPr/>
          <a:lstStyle>
            <a:lvl1pPr>
              <a:defRPr sz="675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93" name="Ellipse 192">
            <a:extLst>
              <a:ext uri="{FF2B5EF4-FFF2-40B4-BE49-F238E27FC236}">
                <a16:creationId xmlns:a16="http://schemas.microsoft.com/office/drawing/2014/main" id="{E3AD04D5-AFEF-4544-A22A-0EC06FD95C52}"/>
              </a:ext>
            </a:extLst>
          </p:cNvPr>
          <p:cNvSpPr/>
          <p:nvPr userDrawn="1"/>
        </p:nvSpPr>
        <p:spPr>
          <a:xfrm>
            <a:off x="7405579" y="2586673"/>
            <a:ext cx="384920" cy="346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195" name="Holder 3">
            <a:extLst>
              <a:ext uri="{FF2B5EF4-FFF2-40B4-BE49-F238E27FC236}">
                <a16:creationId xmlns:a16="http://schemas.microsoft.com/office/drawing/2014/main" id="{98E93902-F572-1449-BC62-5502774780B4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7421976" y="3041431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6" name="Espace réservé du texte 3">
            <a:extLst>
              <a:ext uri="{FF2B5EF4-FFF2-40B4-BE49-F238E27FC236}">
                <a16:creationId xmlns:a16="http://schemas.microsoft.com/office/drawing/2014/main" id="{15851F73-AB1C-AD4B-840A-5EB01554AF2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199907" y="2631559"/>
            <a:ext cx="1243957" cy="207749"/>
          </a:xfrm>
        </p:spPr>
        <p:txBody>
          <a:bodyPr/>
          <a:lstStyle>
            <a:lvl1pPr>
              <a:defRPr sz="675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98" name="Ellipse 197">
            <a:extLst>
              <a:ext uri="{FF2B5EF4-FFF2-40B4-BE49-F238E27FC236}">
                <a16:creationId xmlns:a16="http://schemas.microsoft.com/office/drawing/2014/main" id="{4EEB5828-E1BB-EA4F-8050-2E77B74ADF0F}"/>
              </a:ext>
            </a:extLst>
          </p:cNvPr>
          <p:cNvSpPr/>
          <p:nvPr userDrawn="1"/>
        </p:nvSpPr>
        <p:spPr>
          <a:xfrm>
            <a:off x="9660992" y="2607129"/>
            <a:ext cx="384920" cy="346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200" name="Holder 3">
            <a:extLst>
              <a:ext uri="{FF2B5EF4-FFF2-40B4-BE49-F238E27FC236}">
                <a16:creationId xmlns:a16="http://schemas.microsoft.com/office/drawing/2014/main" id="{A2E4D68E-18F7-FC46-8CFB-44B860115BBB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9677390" y="3061888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02" name="object 12">
            <a:extLst>
              <a:ext uri="{FF2B5EF4-FFF2-40B4-BE49-F238E27FC236}">
                <a16:creationId xmlns:a16="http://schemas.microsoft.com/office/drawing/2014/main" id="{DAACB038-4E9A-EF4F-BC45-CFB6EBD61888}"/>
              </a:ext>
            </a:extLst>
          </p:cNvPr>
          <p:cNvSpPr/>
          <p:nvPr userDrawn="1"/>
        </p:nvSpPr>
        <p:spPr>
          <a:xfrm>
            <a:off x="7467217" y="2640470"/>
            <a:ext cx="261641" cy="236732"/>
          </a:xfrm>
          <a:custGeom>
            <a:avLst/>
            <a:gdLst/>
            <a:ahLst/>
            <a:cxnLst/>
            <a:rect l="l" t="t" r="r" b="b"/>
            <a:pathLst>
              <a:path w="833755" h="838200">
                <a:moveTo>
                  <a:pt x="418922" y="0"/>
                </a:moveTo>
                <a:lnTo>
                  <a:pt x="370134" y="2823"/>
                </a:lnTo>
                <a:lnTo>
                  <a:pt x="322981" y="11083"/>
                </a:lnTo>
                <a:lnTo>
                  <a:pt x="277781" y="24463"/>
                </a:lnTo>
                <a:lnTo>
                  <a:pt x="234850" y="42645"/>
                </a:lnTo>
                <a:lnTo>
                  <a:pt x="194504" y="65313"/>
                </a:lnTo>
                <a:lnTo>
                  <a:pt x="157060" y="92151"/>
                </a:lnTo>
                <a:lnTo>
                  <a:pt x="122835" y="122840"/>
                </a:lnTo>
                <a:lnTo>
                  <a:pt x="92147" y="157065"/>
                </a:lnTo>
                <a:lnTo>
                  <a:pt x="65310" y="194509"/>
                </a:lnTo>
                <a:lnTo>
                  <a:pt x="42643" y="234855"/>
                </a:lnTo>
                <a:lnTo>
                  <a:pt x="24461" y="277786"/>
                </a:lnTo>
                <a:lnTo>
                  <a:pt x="11069" y="323062"/>
                </a:lnTo>
                <a:lnTo>
                  <a:pt x="2843" y="370020"/>
                </a:lnTo>
                <a:lnTo>
                  <a:pt x="0" y="418922"/>
                </a:lnTo>
                <a:lnTo>
                  <a:pt x="2823" y="467710"/>
                </a:lnTo>
                <a:lnTo>
                  <a:pt x="11083" y="514863"/>
                </a:lnTo>
                <a:lnTo>
                  <a:pt x="24461" y="560064"/>
                </a:lnTo>
                <a:lnTo>
                  <a:pt x="42643" y="602996"/>
                </a:lnTo>
                <a:lnTo>
                  <a:pt x="65310" y="643343"/>
                </a:lnTo>
                <a:lnTo>
                  <a:pt x="92147" y="680788"/>
                </a:lnTo>
                <a:lnTo>
                  <a:pt x="122835" y="715014"/>
                </a:lnTo>
                <a:lnTo>
                  <a:pt x="157060" y="745704"/>
                </a:lnTo>
                <a:lnTo>
                  <a:pt x="194504" y="772542"/>
                </a:lnTo>
                <a:lnTo>
                  <a:pt x="234850" y="795211"/>
                </a:lnTo>
                <a:lnTo>
                  <a:pt x="277781" y="813393"/>
                </a:lnTo>
                <a:lnTo>
                  <a:pt x="322981" y="826773"/>
                </a:lnTo>
                <a:lnTo>
                  <a:pt x="370134" y="835033"/>
                </a:lnTo>
                <a:lnTo>
                  <a:pt x="418922" y="837857"/>
                </a:lnTo>
                <a:lnTo>
                  <a:pt x="465573" y="835302"/>
                </a:lnTo>
                <a:lnTo>
                  <a:pt x="510825" y="827803"/>
                </a:lnTo>
                <a:lnTo>
                  <a:pt x="554381" y="815609"/>
                </a:lnTo>
                <a:lnTo>
                  <a:pt x="593977" y="799757"/>
                </a:lnTo>
                <a:lnTo>
                  <a:pt x="418922" y="799757"/>
                </a:lnTo>
                <a:lnTo>
                  <a:pt x="371219" y="796784"/>
                </a:lnTo>
                <a:lnTo>
                  <a:pt x="325266" y="788105"/>
                </a:lnTo>
                <a:lnTo>
                  <a:pt x="281422" y="774081"/>
                </a:lnTo>
                <a:lnTo>
                  <a:pt x="240046" y="755070"/>
                </a:lnTo>
                <a:lnTo>
                  <a:pt x="201499" y="731432"/>
                </a:lnTo>
                <a:lnTo>
                  <a:pt x="166139" y="703527"/>
                </a:lnTo>
                <a:lnTo>
                  <a:pt x="134328" y="671715"/>
                </a:lnTo>
                <a:lnTo>
                  <a:pt x="106423" y="636355"/>
                </a:lnTo>
                <a:lnTo>
                  <a:pt x="82786" y="597806"/>
                </a:lnTo>
                <a:lnTo>
                  <a:pt x="63775" y="556429"/>
                </a:lnTo>
                <a:lnTo>
                  <a:pt x="49751" y="512583"/>
                </a:lnTo>
                <a:lnTo>
                  <a:pt x="41072" y="466627"/>
                </a:lnTo>
                <a:lnTo>
                  <a:pt x="38099" y="418922"/>
                </a:lnTo>
                <a:lnTo>
                  <a:pt x="41072" y="371219"/>
                </a:lnTo>
                <a:lnTo>
                  <a:pt x="49751" y="325266"/>
                </a:lnTo>
                <a:lnTo>
                  <a:pt x="63775" y="281422"/>
                </a:lnTo>
                <a:lnTo>
                  <a:pt x="82786" y="240046"/>
                </a:lnTo>
                <a:lnTo>
                  <a:pt x="106423" y="201499"/>
                </a:lnTo>
                <a:lnTo>
                  <a:pt x="134328" y="166139"/>
                </a:lnTo>
                <a:lnTo>
                  <a:pt x="166139" y="134328"/>
                </a:lnTo>
                <a:lnTo>
                  <a:pt x="201499" y="106423"/>
                </a:lnTo>
                <a:lnTo>
                  <a:pt x="240046" y="82786"/>
                </a:lnTo>
                <a:lnTo>
                  <a:pt x="281422" y="63775"/>
                </a:lnTo>
                <a:lnTo>
                  <a:pt x="325266" y="49751"/>
                </a:lnTo>
                <a:lnTo>
                  <a:pt x="371219" y="41072"/>
                </a:lnTo>
                <a:lnTo>
                  <a:pt x="418922" y="38099"/>
                </a:lnTo>
                <a:lnTo>
                  <a:pt x="591718" y="38099"/>
                </a:lnTo>
                <a:lnTo>
                  <a:pt x="555740" y="23270"/>
                </a:lnTo>
                <a:lnTo>
                  <a:pt x="511677" y="10530"/>
                </a:lnTo>
                <a:lnTo>
                  <a:pt x="465962" y="2679"/>
                </a:lnTo>
                <a:lnTo>
                  <a:pt x="418922" y="0"/>
                </a:lnTo>
                <a:close/>
              </a:path>
              <a:path w="833755" h="838200">
                <a:moveTo>
                  <a:pt x="816254" y="468096"/>
                </a:moveTo>
                <a:lnTo>
                  <a:pt x="782656" y="532311"/>
                </a:lnTo>
                <a:lnTo>
                  <a:pt x="765212" y="578093"/>
                </a:lnTo>
                <a:lnTo>
                  <a:pt x="742382" y="620638"/>
                </a:lnTo>
                <a:lnTo>
                  <a:pt x="714606" y="659575"/>
                </a:lnTo>
                <a:lnTo>
                  <a:pt x="682330" y="694529"/>
                </a:lnTo>
                <a:lnTo>
                  <a:pt x="645994" y="725128"/>
                </a:lnTo>
                <a:lnTo>
                  <a:pt x="606041" y="751000"/>
                </a:lnTo>
                <a:lnTo>
                  <a:pt x="562915" y="771772"/>
                </a:lnTo>
                <a:lnTo>
                  <a:pt x="517058" y="787070"/>
                </a:lnTo>
                <a:lnTo>
                  <a:pt x="468913" y="796523"/>
                </a:lnTo>
                <a:lnTo>
                  <a:pt x="418922" y="799757"/>
                </a:lnTo>
                <a:lnTo>
                  <a:pt x="593977" y="799757"/>
                </a:lnTo>
                <a:lnTo>
                  <a:pt x="635230" y="778128"/>
                </a:lnTo>
                <a:lnTo>
                  <a:pt x="671932" y="753338"/>
                </a:lnTo>
                <a:lnTo>
                  <a:pt x="705759" y="724847"/>
                </a:lnTo>
                <a:lnTo>
                  <a:pt x="736417" y="692902"/>
                </a:lnTo>
                <a:lnTo>
                  <a:pt x="763608" y="657753"/>
                </a:lnTo>
                <a:lnTo>
                  <a:pt x="787040" y="619648"/>
                </a:lnTo>
                <a:lnTo>
                  <a:pt x="806417" y="578835"/>
                </a:lnTo>
                <a:lnTo>
                  <a:pt x="821443" y="535563"/>
                </a:lnTo>
                <a:lnTo>
                  <a:pt x="831824" y="490080"/>
                </a:lnTo>
                <a:lnTo>
                  <a:pt x="831593" y="482523"/>
                </a:lnTo>
                <a:lnTo>
                  <a:pt x="828587" y="475868"/>
                </a:lnTo>
                <a:lnTo>
                  <a:pt x="823307" y="470824"/>
                </a:lnTo>
                <a:lnTo>
                  <a:pt x="816254" y="468096"/>
                </a:lnTo>
                <a:close/>
              </a:path>
              <a:path w="833755" h="838200">
                <a:moveTo>
                  <a:pt x="290271" y="481355"/>
                </a:moveTo>
                <a:lnTo>
                  <a:pt x="249173" y="481355"/>
                </a:lnTo>
                <a:lnTo>
                  <a:pt x="269626" y="522273"/>
                </a:lnTo>
                <a:lnTo>
                  <a:pt x="299045" y="556750"/>
                </a:lnTo>
                <a:lnTo>
                  <a:pt x="335906" y="583261"/>
                </a:lnTo>
                <a:lnTo>
                  <a:pt x="378685" y="600285"/>
                </a:lnTo>
                <a:lnTo>
                  <a:pt x="425856" y="606297"/>
                </a:lnTo>
                <a:lnTo>
                  <a:pt x="467492" y="601660"/>
                </a:lnTo>
                <a:lnTo>
                  <a:pt x="506475" y="588152"/>
                </a:lnTo>
                <a:lnTo>
                  <a:pt x="538611" y="568197"/>
                </a:lnTo>
                <a:lnTo>
                  <a:pt x="425856" y="568197"/>
                </a:lnTo>
                <a:lnTo>
                  <a:pt x="382668" y="561831"/>
                </a:lnTo>
                <a:lnTo>
                  <a:pt x="344423" y="543983"/>
                </a:lnTo>
                <a:lnTo>
                  <a:pt x="312999" y="516532"/>
                </a:lnTo>
                <a:lnTo>
                  <a:pt x="290271" y="481355"/>
                </a:lnTo>
                <a:close/>
              </a:path>
              <a:path w="833755" h="838200">
                <a:moveTo>
                  <a:pt x="554642" y="505988"/>
                </a:moveTo>
                <a:lnTo>
                  <a:pt x="547651" y="508123"/>
                </a:lnTo>
                <a:lnTo>
                  <a:pt x="541820" y="512940"/>
                </a:lnTo>
                <a:lnTo>
                  <a:pt x="518025" y="536388"/>
                </a:lnTo>
                <a:lnTo>
                  <a:pt x="490086" y="553737"/>
                </a:lnTo>
                <a:lnTo>
                  <a:pt x="459024" y="564502"/>
                </a:lnTo>
                <a:lnTo>
                  <a:pt x="425856" y="568197"/>
                </a:lnTo>
                <a:lnTo>
                  <a:pt x="538611" y="568197"/>
                </a:lnTo>
                <a:lnTo>
                  <a:pt x="541535" y="566382"/>
                </a:lnTo>
                <a:lnTo>
                  <a:pt x="571398" y="536955"/>
                </a:lnTo>
                <a:lnTo>
                  <a:pt x="574910" y="530256"/>
                </a:lnTo>
                <a:lnTo>
                  <a:pt x="575560" y="522982"/>
                </a:lnTo>
                <a:lnTo>
                  <a:pt x="573434" y="515999"/>
                </a:lnTo>
                <a:lnTo>
                  <a:pt x="568617" y="510171"/>
                </a:lnTo>
                <a:lnTo>
                  <a:pt x="561920" y="506637"/>
                </a:lnTo>
                <a:lnTo>
                  <a:pt x="554642" y="505988"/>
                </a:lnTo>
                <a:close/>
              </a:path>
              <a:path w="833755" h="838200">
                <a:moveTo>
                  <a:pt x="436613" y="443255"/>
                </a:moveTo>
                <a:lnTo>
                  <a:pt x="209740" y="443255"/>
                </a:lnTo>
                <a:lnTo>
                  <a:pt x="202327" y="444753"/>
                </a:lnTo>
                <a:lnTo>
                  <a:pt x="196272" y="448837"/>
                </a:lnTo>
                <a:lnTo>
                  <a:pt x="192188" y="454892"/>
                </a:lnTo>
                <a:lnTo>
                  <a:pt x="190690" y="462305"/>
                </a:lnTo>
                <a:lnTo>
                  <a:pt x="192188" y="469718"/>
                </a:lnTo>
                <a:lnTo>
                  <a:pt x="196272" y="475773"/>
                </a:lnTo>
                <a:lnTo>
                  <a:pt x="202327" y="479857"/>
                </a:lnTo>
                <a:lnTo>
                  <a:pt x="209740" y="481355"/>
                </a:lnTo>
                <a:lnTo>
                  <a:pt x="436613" y="481355"/>
                </a:lnTo>
                <a:lnTo>
                  <a:pt x="444031" y="479857"/>
                </a:lnTo>
                <a:lnTo>
                  <a:pt x="450086" y="475773"/>
                </a:lnTo>
                <a:lnTo>
                  <a:pt x="454167" y="469718"/>
                </a:lnTo>
                <a:lnTo>
                  <a:pt x="455663" y="462305"/>
                </a:lnTo>
                <a:lnTo>
                  <a:pt x="454167" y="454892"/>
                </a:lnTo>
                <a:lnTo>
                  <a:pt x="450086" y="448837"/>
                </a:lnTo>
                <a:lnTo>
                  <a:pt x="444031" y="444753"/>
                </a:lnTo>
                <a:lnTo>
                  <a:pt x="436613" y="443255"/>
                </a:lnTo>
                <a:close/>
              </a:path>
              <a:path w="833755" h="838200">
                <a:moveTo>
                  <a:pt x="277418" y="403009"/>
                </a:moveTo>
                <a:lnTo>
                  <a:pt x="239140" y="403009"/>
                </a:lnTo>
                <a:lnTo>
                  <a:pt x="238696" y="408254"/>
                </a:lnTo>
                <a:lnTo>
                  <a:pt x="238481" y="413550"/>
                </a:lnTo>
                <a:lnTo>
                  <a:pt x="238483" y="427202"/>
                </a:lnTo>
                <a:lnTo>
                  <a:pt x="239018" y="435330"/>
                </a:lnTo>
                <a:lnTo>
                  <a:pt x="240055" y="443255"/>
                </a:lnTo>
                <a:lnTo>
                  <a:pt x="278561" y="443255"/>
                </a:lnTo>
                <a:lnTo>
                  <a:pt x="277263" y="435292"/>
                </a:lnTo>
                <a:lnTo>
                  <a:pt x="276580" y="427202"/>
                </a:lnTo>
                <a:lnTo>
                  <a:pt x="276580" y="413550"/>
                </a:lnTo>
                <a:lnTo>
                  <a:pt x="276859" y="408241"/>
                </a:lnTo>
                <a:lnTo>
                  <a:pt x="277418" y="403009"/>
                </a:lnTo>
                <a:close/>
              </a:path>
              <a:path w="833755" h="838200">
                <a:moveTo>
                  <a:pt x="436613" y="364909"/>
                </a:moveTo>
                <a:lnTo>
                  <a:pt x="209739" y="364909"/>
                </a:lnTo>
                <a:lnTo>
                  <a:pt x="190690" y="383959"/>
                </a:lnTo>
                <a:lnTo>
                  <a:pt x="192188" y="391371"/>
                </a:lnTo>
                <a:lnTo>
                  <a:pt x="196272" y="397427"/>
                </a:lnTo>
                <a:lnTo>
                  <a:pt x="202327" y="401511"/>
                </a:lnTo>
                <a:lnTo>
                  <a:pt x="209740" y="403009"/>
                </a:lnTo>
                <a:lnTo>
                  <a:pt x="436613" y="403009"/>
                </a:lnTo>
                <a:lnTo>
                  <a:pt x="444031" y="401511"/>
                </a:lnTo>
                <a:lnTo>
                  <a:pt x="450086" y="397427"/>
                </a:lnTo>
                <a:lnTo>
                  <a:pt x="454167" y="391371"/>
                </a:lnTo>
                <a:lnTo>
                  <a:pt x="455663" y="383959"/>
                </a:lnTo>
                <a:lnTo>
                  <a:pt x="454167" y="376546"/>
                </a:lnTo>
                <a:lnTo>
                  <a:pt x="450086" y="370490"/>
                </a:lnTo>
                <a:lnTo>
                  <a:pt x="444031" y="366406"/>
                </a:lnTo>
                <a:lnTo>
                  <a:pt x="436613" y="364909"/>
                </a:lnTo>
                <a:close/>
              </a:path>
              <a:path w="833755" h="838200">
                <a:moveTo>
                  <a:pt x="591718" y="38099"/>
                </a:moveTo>
                <a:lnTo>
                  <a:pt x="418922" y="38099"/>
                </a:lnTo>
                <a:lnTo>
                  <a:pt x="465199" y="40954"/>
                </a:lnTo>
                <a:lnTo>
                  <a:pt x="510033" y="49300"/>
                </a:lnTo>
                <a:lnTo>
                  <a:pt x="553046" y="62811"/>
                </a:lnTo>
                <a:lnTo>
                  <a:pt x="593857" y="81160"/>
                </a:lnTo>
                <a:lnTo>
                  <a:pt x="632089" y="104020"/>
                </a:lnTo>
                <a:lnTo>
                  <a:pt x="667362" y="131065"/>
                </a:lnTo>
                <a:lnTo>
                  <a:pt x="699298" y="161968"/>
                </a:lnTo>
                <a:lnTo>
                  <a:pt x="727518" y="196402"/>
                </a:lnTo>
                <a:lnTo>
                  <a:pt x="751642" y="234040"/>
                </a:lnTo>
                <a:lnTo>
                  <a:pt x="771292" y="274556"/>
                </a:lnTo>
                <a:lnTo>
                  <a:pt x="786089" y="317623"/>
                </a:lnTo>
                <a:lnTo>
                  <a:pt x="795654" y="362915"/>
                </a:lnTo>
                <a:lnTo>
                  <a:pt x="798227" y="370020"/>
                </a:lnTo>
                <a:lnTo>
                  <a:pt x="803163" y="375400"/>
                </a:lnTo>
                <a:lnTo>
                  <a:pt x="809753" y="378554"/>
                </a:lnTo>
                <a:lnTo>
                  <a:pt x="817283" y="378980"/>
                </a:lnTo>
                <a:lnTo>
                  <a:pt x="824397" y="376417"/>
                </a:lnTo>
                <a:lnTo>
                  <a:pt x="829794" y="371495"/>
                </a:lnTo>
                <a:lnTo>
                  <a:pt x="832954" y="364909"/>
                </a:lnTo>
                <a:lnTo>
                  <a:pt x="833361" y="357352"/>
                </a:lnTo>
                <a:lnTo>
                  <a:pt x="823855" y="311273"/>
                </a:lnTo>
                <a:lnTo>
                  <a:pt x="809417" y="267257"/>
                </a:lnTo>
                <a:lnTo>
                  <a:pt x="790376" y="225584"/>
                </a:lnTo>
                <a:lnTo>
                  <a:pt x="767060" y="186539"/>
                </a:lnTo>
                <a:lnTo>
                  <a:pt x="739796" y="150404"/>
                </a:lnTo>
                <a:lnTo>
                  <a:pt x="708913" y="117462"/>
                </a:lnTo>
                <a:lnTo>
                  <a:pt x="674738" y="87994"/>
                </a:lnTo>
                <a:lnTo>
                  <a:pt x="637599" y="62285"/>
                </a:lnTo>
                <a:lnTo>
                  <a:pt x="597823" y="40616"/>
                </a:lnTo>
                <a:lnTo>
                  <a:pt x="591718" y="38099"/>
                </a:lnTo>
                <a:close/>
              </a:path>
              <a:path w="833755" h="838200">
                <a:moveTo>
                  <a:pt x="425856" y="231546"/>
                </a:moveTo>
                <a:lnTo>
                  <a:pt x="376961" y="238016"/>
                </a:lnTo>
                <a:lnTo>
                  <a:pt x="332864" y="256292"/>
                </a:lnTo>
                <a:lnTo>
                  <a:pt x="295271" y="284668"/>
                </a:lnTo>
                <a:lnTo>
                  <a:pt x="265888" y="321442"/>
                </a:lnTo>
                <a:lnTo>
                  <a:pt x="246418" y="364909"/>
                </a:lnTo>
                <a:lnTo>
                  <a:pt x="286689" y="364909"/>
                </a:lnTo>
                <a:lnTo>
                  <a:pt x="308688" y="326530"/>
                </a:lnTo>
                <a:lnTo>
                  <a:pt x="340680" y="296394"/>
                </a:lnTo>
                <a:lnTo>
                  <a:pt x="380469" y="276699"/>
                </a:lnTo>
                <a:lnTo>
                  <a:pt x="425856" y="269646"/>
                </a:lnTo>
                <a:lnTo>
                  <a:pt x="538982" y="269646"/>
                </a:lnTo>
                <a:lnTo>
                  <a:pt x="505104" y="249088"/>
                </a:lnTo>
                <a:lnTo>
                  <a:pt x="466709" y="236029"/>
                </a:lnTo>
                <a:lnTo>
                  <a:pt x="425856" y="231546"/>
                </a:lnTo>
                <a:close/>
              </a:path>
              <a:path w="833755" h="838200">
                <a:moveTo>
                  <a:pt x="538982" y="269646"/>
                </a:moveTo>
                <a:lnTo>
                  <a:pt x="425856" y="269646"/>
                </a:lnTo>
                <a:lnTo>
                  <a:pt x="458400" y="273218"/>
                </a:lnTo>
                <a:lnTo>
                  <a:pt x="488991" y="283624"/>
                </a:lnTo>
                <a:lnTo>
                  <a:pt x="516624" y="300394"/>
                </a:lnTo>
                <a:lnTo>
                  <a:pt x="540296" y="323062"/>
                </a:lnTo>
                <a:lnTo>
                  <a:pt x="546214" y="327778"/>
                </a:lnTo>
                <a:lnTo>
                  <a:pt x="553238" y="329796"/>
                </a:lnTo>
                <a:lnTo>
                  <a:pt x="560503" y="329038"/>
                </a:lnTo>
                <a:lnTo>
                  <a:pt x="567143" y="325424"/>
                </a:lnTo>
                <a:lnTo>
                  <a:pt x="571865" y="319508"/>
                </a:lnTo>
                <a:lnTo>
                  <a:pt x="573881" y="312486"/>
                </a:lnTo>
                <a:lnTo>
                  <a:pt x="573116" y="305222"/>
                </a:lnTo>
                <a:lnTo>
                  <a:pt x="569493" y="298576"/>
                </a:lnTo>
                <a:lnTo>
                  <a:pt x="539784" y="270133"/>
                </a:lnTo>
                <a:lnTo>
                  <a:pt x="538982" y="269646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3" name="object 13">
            <a:extLst>
              <a:ext uri="{FF2B5EF4-FFF2-40B4-BE49-F238E27FC236}">
                <a16:creationId xmlns:a16="http://schemas.microsoft.com/office/drawing/2014/main" id="{6A53B15D-2AED-EC4F-84D5-4D1C1AC98E06}"/>
              </a:ext>
            </a:extLst>
          </p:cNvPr>
          <p:cNvSpPr/>
          <p:nvPr userDrawn="1"/>
        </p:nvSpPr>
        <p:spPr>
          <a:xfrm>
            <a:off x="9720985" y="2695096"/>
            <a:ext cx="262797" cy="196889"/>
          </a:xfrm>
          <a:custGeom>
            <a:avLst/>
            <a:gdLst/>
            <a:ahLst/>
            <a:cxnLst/>
            <a:rect l="l" t="t" r="r" b="b"/>
            <a:pathLst>
              <a:path w="837565" h="697229">
                <a:moveTo>
                  <a:pt x="576448" y="0"/>
                </a:moveTo>
                <a:lnTo>
                  <a:pt x="564673" y="2706"/>
                </a:lnTo>
                <a:lnTo>
                  <a:pt x="553783" y="8726"/>
                </a:lnTo>
                <a:lnTo>
                  <a:pt x="516612" y="35188"/>
                </a:lnTo>
                <a:lnTo>
                  <a:pt x="476892" y="57899"/>
                </a:lnTo>
                <a:lnTo>
                  <a:pt x="434968" y="76744"/>
                </a:lnTo>
                <a:lnTo>
                  <a:pt x="391185" y="91605"/>
                </a:lnTo>
                <a:lnTo>
                  <a:pt x="345888" y="102365"/>
                </a:lnTo>
                <a:lnTo>
                  <a:pt x="299423" y="108907"/>
                </a:lnTo>
                <a:lnTo>
                  <a:pt x="252133" y="111113"/>
                </a:lnTo>
                <a:lnTo>
                  <a:pt x="165722" y="111113"/>
                </a:lnTo>
                <a:lnTo>
                  <a:pt x="113398" y="119065"/>
                </a:lnTo>
                <a:lnTo>
                  <a:pt x="67913" y="141194"/>
                </a:lnTo>
                <a:lnTo>
                  <a:pt x="32017" y="174917"/>
                </a:lnTo>
                <a:lnTo>
                  <a:pt x="8462" y="217649"/>
                </a:lnTo>
                <a:lnTo>
                  <a:pt x="0" y="266803"/>
                </a:lnTo>
                <a:lnTo>
                  <a:pt x="6342" y="308944"/>
                </a:lnTo>
                <a:lnTo>
                  <a:pt x="24232" y="347033"/>
                </a:lnTo>
                <a:lnTo>
                  <a:pt x="51967" y="379211"/>
                </a:lnTo>
                <a:lnTo>
                  <a:pt x="87840" y="403620"/>
                </a:lnTo>
                <a:lnTo>
                  <a:pt x="130149" y="418403"/>
                </a:lnTo>
                <a:lnTo>
                  <a:pt x="246735" y="692405"/>
                </a:lnTo>
                <a:lnTo>
                  <a:pt x="253784" y="696748"/>
                </a:lnTo>
                <a:lnTo>
                  <a:pt x="263677" y="696748"/>
                </a:lnTo>
                <a:lnTo>
                  <a:pt x="280244" y="677651"/>
                </a:lnTo>
                <a:lnTo>
                  <a:pt x="278714" y="670244"/>
                </a:lnTo>
                <a:lnTo>
                  <a:pt x="158546" y="387846"/>
                </a:lnTo>
                <a:lnTo>
                  <a:pt x="152920" y="383528"/>
                </a:lnTo>
                <a:lnTo>
                  <a:pt x="146316" y="382589"/>
                </a:lnTo>
                <a:lnTo>
                  <a:pt x="103379" y="368815"/>
                </a:lnTo>
                <a:lnTo>
                  <a:pt x="69072" y="342831"/>
                </a:lnTo>
                <a:lnTo>
                  <a:pt x="46332" y="307779"/>
                </a:lnTo>
                <a:lnTo>
                  <a:pt x="38100" y="266803"/>
                </a:lnTo>
                <a:lnTo>
                  <a:pt x="48145" y="221078"/>
                </a:lnTo>
                <a:lnTo>
                  <a:pt x="75522" y="183695"/>
                </a:lnTo>
                <a:lnTo>
                  <a:pt x="116093" y="158470"/>
                </a:lnTo>
                <a:lnTo>
                  <a:pt x="165722" y="149213"/>
                </a:lnTo>
                <a:lnTo>
                  <a:pt x="252133" y="149213"/>
                </a:lnTo>
                <a:lnTo>
                  <a:pt x="303067" y="146830"/>
                </a:lnTo>
                <a:lnTo>
                  <a:pt x="353126" y="139770"/>
                </a:lnTo>
                <a:lnTo>
                  <a:pt x="401931" y="128164"/>
                </a:lnTo>
                <a:lnTo>
                  <a:pt x="449102" y="112144"/>
                </a:lnTo>
                <a:lnTo>
                  <a:pt x="494259" y="91843"/>
                </a:lnTo>
                <a:lnTo>
                  <a:pt x="537022" y="67393"/>
                </a:lnTo>
                <a:lnTo>
                  <a:pt x="577011" y="38927"/>
                </a:lnTo>
                <a:lnTo>
                  <a:pt x="579399" y="37123"/>
                </a:lnTo>
                <a:lnTo>
                  <a:pt x="623921" y="37123"/>
                </a:lnTo>
                <a:lnTo>
                  <a:pt x="600265" y="4637"/>
                </a:lnTo>
                <a:lnTo>
                  <a:pt x="588511" y="634"/>
                </a:lnTo>
                <a:lnTo>
                  <a:pt x="576448" y="0"/>
                </a:lnTo>
                <a:close/>
              </a:path>
              <a:path w="837565" h="697229">
                <a:moveTo>
                  <a:pt x="433587" y="414935"/>
                </a:moveTo>
                <a:lnTo>
                  <a:pt x="206705" y="414935"/>
                </a:lnTo>
                <a:lnTo>
                  <a:pt x="207949" y="414974"/>
                </a:lnTo>
                <a:lnTo>
                  <a:pt x="209207" y="414974"/>
                </a:lnTo>
                <a:lnTo>
                  <a:pt x="280845" y="418729"/>
                </a:lnTo>
                <a:lnTo>
                  <a:pt x="345001" y="428928"/>
                </a:lnTo>
                <a:lnTo>
                  <a:pt x="401669" y="443968"/>
                </a:lnTo>
                <a:lnTo>
                  <a:pt x="450842" y="462249"/>
                </a:lnTo>
                <a:lnTo>
                  <a:pt x="492515" y="482170"/>
                </a:lnTo>
                <a:lnTo>
                  <a:pt x="526683" y="502128"/>
                </a:lnTo>
                <a:lnTo>
                  <a:pt x="559338" y="524981"/>
                </a:lnTo>
                <a:lnTo>
                  <a:pt x="566213" y="528273"/>
                </a:lnTo>
                <a:lnTo>
                  <a:pt x="573741" y="530314"/>
                </a:lnTo>
                <a:lnTo>
                  <a:pt x="581698" y="531013"/>
                </a:lnTo>
                <a:lnTo>
                  <a:pt x="594207" y="531013"/>
                </a:lnTo>
                <a:lnTo>
                  <a:pt x="625177" y="499823"/>
                </a:lnTo>
                <a:lnTo>
                  <a:pt x="626133" y="493066"/>
                </a:lnTo>
                <a:lnTo>
                  <a:pt x="584390" y="493066"/>
                </a:lnTo>
                <a:lnTo>
                  <a:pt x="579361" y="492596"/>
                </a:lnTo>
                <a:lnTo>
                  <a:pt x="579094" y="492456"/>
                </a:lnTo>
                <a:lnTo>
                  <a:pt x="578459" y="491821"/>
                </a:lnTo>
                <a:lnTo>
                  <a:pt x="577786" y="491237"/>
                </a:lnTo>
                <a:lnTo>
                  <a:pt x="522026" y="454921"/>
                </a:lnTo>
                <a:lnTo>
                  <a:pt x="485233" y="435943"/>
                </a:lnTo>
                <a:lnTo>
                  <a:pt x="442279" y="417795"/>
                </a:lnTo>
                <a:lnTo>
                  <a:pt x="433587" y="414935"/>
                </a:lnTo>
                <a:close/>
              </a:path>
              <a:path w="837565" h="697229">
                <a:moveTo>
                  <a:pt x="623921" y="37123"/>
                </a:moveTo>
                <a:lnTo>
                  <a:pt x="579399" y="37123"/>
                </a:lnTo>
                <a:lnTo>
                  <a:pt x="582142" y="38165"/>
                </a:lnTo>
                <a:lnTo>
                  <a:pt x="584288" y="39244"/>
                </a:lnTo>
                <a:lnTo>
                  <a:pt x="586765" y="40806"/>
                </a:lnTo>
                <a:lnTo>
                  <a:pt x="588784" y="490818"/>
                </a:lnTo>
                <a:lnTo>
                  <a:pt x="586189" y="492456"/>
                </a:lnTo>
                <a:lnTo>
                  <a:pt x="585609" y="492774"/>
                </a:lnTo>
                <a:lnTo>
                  <a:pt x="584390" y="493066"/>
                </a:lnTo>
                <a:lnTo>
                  <a:pt x="626133" y="493066"/>
                </a:lnTo>
                <a:lnTo>
                  <a:pt x="626872" y="487846"/>
                </a:lnTo>
                <a:lnTo>
                  <a:pt x="624865" y="43765"/>
                </a:lnTo>
                <a:lnTo>
                  <a:pt x="623921" y="37123"/>
                </a:lnTo>
                <a:close/>
              </a:path>
              <a:path w="837565" h="697229">
                <a:moveTo>
                  <a:pt x="209207" y="376874"/>
                </a:moveTo>
                <a:lnTo>
                  <a:pt x="205346" y="376874"/>
                </a:lnTo>
                <a:lnTo>
                  <a:pt x="197934" y="378414"/>
                </a:lnTo>
                <a:lnTo>
                  <a:pt x="191898" y="382530"/>
                </a:lnTo>
                <a:lnTo>
                  <a:pt x="187845" y="388605"/>
                </a:lnTo>
                <a:lnTo>
                  <a:pt x="186385" y="396025"/>
                </a:lnTo>
                <a:lnTo>
                  <a:pt x="187909" y="403411"/>
                </a:lnTo>
                <a:lnTo>
                  <a:pt x="192000" y="409433"/>
                </a:lnTo>
                <a:lnTo>
                  <a:pt x="198045" y="413488"/>
                </a:lnTo>
                <a:lnTo>
                  <a:pt x="205435" y="414974"/>
                </a:lnTo>
                <a:lnTo>
                  <a:pt x="206705" y="414935"/>
                </a:lnTo>
                <a:lnTo>
                  <a:pt x="433587" y="414935"/>
                </a:lnTo>
                <a:lnTo>
                  <a:pt x="393182" y="401645"/>
                </a:lnTo>
                <a:lnTo>
                  <a:pt x="337959" y="388662"/>
                </a:lnTo>
                <a:lnTo>
                  <a:pt x="276628" y="380016"/>
                </a:lnTo>
                <a:lnTo>
                  <a:pt x="209207" y="376874"/>
                </a:lnTo>
                <a:close/>
              </a:path>
              <a:path w="837565" h="697229">
                <a:moveTo>
                  <a:pt x="684460" y="388005"/>
                </a:moveTo>
                <a:lnTo>
                  <a:pt x="677293" y="389401"/>
                </a:lnTo>
                <a:lnTo>
                  <a:pt x="670991" y="393587"/>
                </a:lnTo>
                <a:lnTo>
                  <a:pt x="666805" y="399883"/>
                </a:lnTo>
                <a:lnTo>
                  <a:pt x="665410" y="407050"/>
                </a:lnTo>
                <a:lnTo>
                  <a:pt x="666805" y="414220"/>
                </a:lnTo>
                <a:lnTo>
                  <a:pt x="670991" y="420523"/>
                </a:lnTo>
                <a:lnTo>
                  <a:pt x="769340" y="518885"/>
                </a:lnTo>
                <a:lnTo>
                  <a:pt x="774217" y="520739"/>
                </a:lnTo>
                <a:lnTo>
                  <a:pt x="783958" y="520739"/>
                </a:lnTo>
                <a:lnTo>
                  <a:pt x="788835" y="518885"/>
                </a:lnTo>
                <a:lnTo>
                  <a:pt x="792556" y="515164"/>
                </a:lnTo>
                <a:lnTo>
                  <a:pt x="796742" y="508860"/>
                </a:lnTo>
                <a:lnTo>
                  <a:pt x="798137" y="501691"/>
                </a:lnTo>
                <a:lnTo>
                  <a:pt x="796742" y="494524"/>
                </a:lnTo>
                <a:lnTo>
                  <a:pt x="792556" y="488227"/>
                </a:lnTo>
                <a:lnTo>
                  <a:pt x="697928" y="393587"/>
                </a:lnTo>
                <a:lnTo>
                  <a:pt x="691626" y="389401"/>
                </a:lnTo>
                <a:lnTo>
                  <a:pt x="684460" y="388005"/>
                </a:lnTo>
                <a:close/>
              </a:path>
              <a:path w="837565" h="697229">
                <a:moveTo>
                  <a:pt x="818286" y="243117"/>
                </a:moveTo>
                <a:lnTo>
                  <a:pt x="684453" y="243117"/>
                </a:lnTo>
                <a:lnTo>
                  <a:pt x="677040" y="244615"/>
                </a:lnTo>
                <a:lnTo>
                  <a:pt x="670985" y="248699"/>
                </a:lnTo>
                <a:lnTo>
                  <a:pt x="666901" y="254754"/>
                </a:lnTo>
                <a:lnTo>
                  <a:pt x="665403" y="262167"/>
                </a:lnTo>
                <a:lnTo>
                  <a:pt x="666901" y="269585"/>
                </a:lnTo>
                <a:lnTo>
                  <a:pt x="670985" y="275640"/>
                </a:lnTo>
                <a:lnTo>
                  <a:pt x="677040" y="279721"/>
                </a:lnTo>
                <a:lnTo>
                  <a:pt x="684453" y="281217"/>
                </a:lnTo>
                <a:lnTo>
                  <a:pt x="818286" y="281217"/>
                </a:lnTo>
                <a:lnTo>
                  <a:pt x="825699" y="279721"/>
                </a:lnTo>
                <a:lnTo>
                  <a:pt x="831754" y="275640"/>
                </a:lnTo>
                <a:lnTo>
                  <a:pt x="835838" y="269585"/>
                </a:lnTo>
                <a:lnTo>
                  <a:pt x="837336" y="262167"/>
                </a:lnTo>
                <a:lnTo>
                  <a:pt x="835838" y="254754"/>
                </a:lnTo>
                <a:lnTo>
                  <a:pt x="831754" y="248699"/>
                </a:lnTo>
                <a:lnTo>
                  <a:pt x="825699" y="244615"/>
                </a:lnTo>
                <a:lnTo>
                  <a:pt x="818286" y="243117"/>
                </a:lnTo>
                <a:close/>
              </a:path>
              <a:path w="837565" h="697229">
                <a:moveTo>
                  <a:pt x="779087" y="3589"/>
                </a:moveTo>
                <a:lnTo>
                  <a:pt x="670991" y="103811"/>
                </a:lnTo>
                <a:lnTo>
                  <a:pt x="665410" y="117284"/>
                </a:lnTo>
                <a:lnTo>
                  <a:pt x="666805" y="124451"/>
                </a:lnTo>
                <a:lnTo>
                  <a:pt x="670991" y="130748"/>
                </a:lnTo>
                <a:lnTo>
                  <a:pt x="674712" y="134469"/>
                </a:lnTo>
                <a:lnTo>
                  <a:pt x="679577" y="136323"/>
                </a:lnTo>
                <a:lnTo>
                  <a:pt x="689330" y="136323"/>
                </a:lnTo>
                <a:lnTo>
                  <a:pt x="694207" y="134469"/>
                </a:lnTo>
                <a:lnTo>
                  <a:pt x="792556" y="36107"/>
                </a:lnTo>
                <a:lnTo>
                  <a:pt x="796742" y="29803"/>
                </a:lnTo>
                <a:lnTo>
                  <a:pt x="798137" y="22634"/>
                </a:lnTo>
                <a:lnTo>
                  <a:pt x="796742" y="15467"/>
                </a:lnTo>
                <a:lnTo>
                  <a:pt x="792556" y="9170"/>
                </a:lnTo>
                <a:lnTo>
                  <a:pt x="786254" y="4984"/>
                </a:lnTo>
                <a:lnTo>
                  <a:pt x="779087" y="3589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4" name="object 18">
            <a:extLst>
              <a:ext uri="{FF2B5EF4-FFF2-40B4-BE49-F238E27FC236}">
                <a16:creationId xmlns:a16="http://schemas.microsoft.com/office/drawing/2014/main" id="{C352C500-AFBB-D54D-B730-253DD52DE041}"/>
              </a:ext>
            </a:extLst>
          </p:cNvPr>
          <p:cNvSpPr/>
          <p:nvPr userDrawn="1"/>
        </p:nvSpPr>
        <p:spPr>
          <a:xfrm>
            <a:off x="3014410" y="2633297"/>
            <a:ext cx="210365" cy="235626"/>
          </a:xfrm>
          <a:custGeom>
            <a:avLst/>
            <a:gdLst/>
            <a:ahLst/>
            <a:cxnLst/>
            <a:rect l="l" t="t" r="r" b="b"/>
            <a:pathLst>
              <a:path w="929639" h="1156970">
                <a:moveTo>
                  <a:pt x="366675" y="1079934"/>
                </a:moveTo>
                <a:lnTo>
                  <a:pt x="359871" y="1082590"/>
                </a:lnTo>
                <a:lnTo>
                  <a:pt x="354554" y="1087597"/>
                </a:lnTo>
                <a:lnTo>
                  <a:pt x="351468" y="1094498"/>
                </a:lnTo>
                <a:lnTo>
                  <a:pt x="351302" y="1102065"/>
                </a:lnTo>
                <a:lnTo>
                  <a:pt x="353960" y="1108868"/>
                </a:lnTo>
                <a:lnTo>
                  <a:pt x="358976" y="1114176"/>
                </a:lnTo>
                <a:lnTo>
                  <a:pt x="365883" y="1117257"/>
                </a:lnTo>
                <a:lnTo>
                  <a:pt x="540825" y="1156462"/>
                </a:lnTo>
                <a:lnTo>
                  <a:pt x="542222" y="1156614"/>
                </a:lnTo>
                <a:lnTo>
                  <a:pt x="552331" y="1156614"/>
                </a:lnTo>
                <a:lnTo>
                  <a:pt x="560193" y="1150594"/>
                </a:lnTo>
                <a:lnTo>
                  <a:pt x="562174" y="1141730"/>
                </a:lnTo>
                <a:lnTo>
                  <a:pt x="562340" y="1134164"/>
                </a:lnTo>
                <a:lnTo>
                  <a:pt x="559681" y="1127364"/>
                </a:lnTo>
                <a:lnTo>
                  <a:pt x="554666" y="1122057"/>
                </a:lnTo>
                <a:lnTo>
                  <a:pt x="547759" y="1118971"/>
                </a:lnTo>
                <a:lnTo>
                  <a:pt x="374226" y="1080084"/>
                </a:lnTo>
                <a:lnTo>
                  <a:pt x="366675" y="1079934"/>
                </a:lnTo>
                <a:close/>
              </a:path>
              <a:path w="929639" h="1156970">
                <a:moveTo>
                  <a:pt x="353284" y="988929"/>
                </a:moveTo>
                <a:lnTo>
                  <a:pt x="346474" y="991569"/>
                </a:lnTo>
                <a:lnTo>
                  <a:pt x="341154" y="996570"/>
                </a:lnTo>
                <a:lnTo>
                  <a:pt x="338057" y="1003465"/>
                </a:lnTo>
                <a:lnTo>
                  <a:pt x="337878" y="1011029"/>
                </a:lnTo>
                <a:lnTo>
                  <a:pt x="340519" y="1017839"/>
                </a:lnTo>
                <a:lnTo>
                  <a:pt x="345520" y="1023162"/>
                </a:lnTo>
                <a:lnTo>
                  <a:pt x="352421" y="1026261"/>
                </a:lnTo>
                <a:lnTo>
                  <a:pt x="567520" y="1075067"/>
                </a:lnTo>
                <a:lnTo>
                  <a:pt x="568943" y="1075220"/>
                </a:lnTo>
                <a:lnTo>
                  <a:pt x="579039" y="1075220"/>
                </a:lnTo>
                <a:lnTo>
                  <a:pt x="586888" y="1069225"/>
                </a:lnTo>
                <a:lnTo>
                  <a:pt x="588895" y="1060386"/>
                </a:lnTo>
                <a:lnTo>
                  <a:pt x="589079" y="1052824"/>
                </a:lnTo>
                <a:lnTo>
                  <a:pt x="586439" y="1046016"/>
                </a:lnTo>
                <a:lnTo>
                  <a:pt x="581438" y="1040694"/>
                </a:lnTo>
                <a:lnTo>
                  <a:pt x="574544" y="1037590"/>
                </a:lnTo>
                <a:lnTo>
                  <a:pt x="360853" y="989114"/>
                </a:lnTo>
                <a:lnTo>
                  <a:pt x="353284" y="988929"/>
                </a:lnTo>
                <a:close/>
              </a:path>
              <a:path w="929639" h="1156970">
                <a:moveTo>
                  <a:pt x="463574" y="232016"/>
                </a:moveTo>
                <a:lnTo>
                  <a:pt x="412011" y="236461"/>
                </a:lnTo>
                <a:lnTo>
                  <a:pt x="361693" y="249796"/>
                </a:lnTo>
                <a:lnTo>
                  <a:pt x="313863" y="272021"/>
                </a:lnTo>
                <a:lnTo>
                  <a:pt x="270705" y="302335"/>
                </a:lnTo>
                <a:lnTo>
                  <a:pt x="233997" y="339246"/>
                </a:lnTo>
                <a:lnTo>
                  <a:pt x="204361" y="381676"/>
                </a:lnTo>
                <a:lnTo>
                  <a:pt x="182421" y="428549"/>
                </a:lnTo>
                <a:lnTo>
                  <a:pt x="168820" y="478675"/>
                </a:lnTo>
                <a:lnTo>
                  <a:pt x="164143" y="531114"/>
                </a:lnTo>
                <a:lnTo>
                  <a:pt x="168318" y="583636"/>
                </a:lnTo>
                <a:lnTo>
                  <a:pt x="181636" y="633683"/>
                </a:lnTo>
                <a:lnTo>
                  <a:pt x="203617" y="680245"/>
                </a:lnTo>
                <a:lnTo>
                  <a:pt x="233781" y="722312"/>
                </a:lnTo>
                <a:lnTo>
                  <a:pt x="271704" y="758939"/>
                </a:lnTo>
                <a:lnTo>
                  <a:pt x="301896" y="793297"/>
                </a:lnTo>
                <a:lnTo>
                  <a:pt x="317497" y="815414"/>
                </a:lnTo>
                <a:lnTo>
                  <a:pt x="323357" y="830833"/>
                </a:lnTo>
                <a:lnTo>
                  <a:pt x="324358" y="844867"/>
                </a:lnTo>
                <a:lnTo>
                  <a:pt x="324363" y="904963"/>
                </a:lnTo>
                <a:lnTo>
                  <a:pt x="327063" y="917935"/>
                </a:lnTo>
                <a:lnTo>
                  <a:pt x="570302" y="987590"/>
                </a:lnTo>
                <a:lnTo>
                  <a:pt x="571673" y="987729"/>
                </a:lnTo>
                <a:lnTo>
                  <a:pt x="581783" y="987729"/>
                </a:lnTo>
                <a:lnTo>
                  <a:pt x="589657" y="981671"/>
                </a:lnTo>
                <a:lnTo>
                  <a:pt x="591612" y="972769"/>
                </a:lnTo>
                <a:lnTo>
                  <a:pt x="591745" y="965211"/>
                </a:lnTo>
                <a:lnTo>
                  <a:pt x="589061" y="958421"/>
                </a:lnTo>
                <a:lnTo>
                  <a:pt x="584027" y="953131"/>
                </a:lnTo>
                <a:lnTo>
                  <a:pt x="577109" y="950074"/>
                </a:lnTo>
                <a:lnTo>
                  <a:pt x="362314" y="902804"/>
                </a:lnTo>
                <a:lnTo>
                  <a:pt x="362395" y="893610"/>
                </a:lnTo>
                <a:lnTo>
                  <a:pt x="362479" y="844867"/>
                </a:lnTo>
                <a:lnTo>
                  <a:pt x="350273" y="795843"/>
                </a:lnTo>
                <a:lnTo>
                  <a:pt x="298661" y="731951"/>
                </a:lnTo>
                <a:lnTo>
                  <a:pt x="296434" y="729881"/>
                </a:lnTo>
                <a:lnTo>
                  <a:pt x="263341" y="698217"/>
                </a:lnTo>
                <a:lnTo>
                  <a:pt x="236881" y="661580"/>
                </a:lnTo>
                <a:lnTo>
                  <a:pt x="217595" y="620964"/>
                </a:lnTo>
                <a:lnTo>
                  <a:pt x="205908" y="577250"/>
                </a:lnTo>
                <a:lnTo>
                  <a:pt x="202274" y="531710"/>
                </a:lnTo>
                <a:lnTo>
                  <a:pt x="202261" y="531114"/>
                </a:lnTo>
                <a:lnTo>
                  <a:pt x="206325" y="485475"/>
                </a:lnTo>
                <a:lnTo>
                  <a:pt x="218208" y="441629"/>
                </a:lnTo>
                <a:lnTo>
                  <a:pt x="237351" y="400719"/>
                </a:lnTo>
                <a:lnTo>
                  <a:pt x="263211" y="363685"/>
                </a:lnTo>
                <a:lnTo>
                  <a:pt x="295246" y="331466"/>
                </a:lnTo>
                <a:lnTo>
                  <a:pt x="332913" y="305003"/>
                </a:lnTo>
                <a:lnTo>
                  <a:pt x="374672" y="285615"/>
                </a:lnTo>
                <a:lnTo>
                  <a:pt x="418608" y="273984"/>
                </a:lnTo>
                <a:lnTo>
                  <a:pt x="463579" y="270108"/>
                </a:lnTo>
                <a:lnTo>
                  <a:pt x="609186" y="270108"/>
                </a:lnTo>
                <a:lnTo>
                  <a:pt x="565464" y="249796"/>
                </a:lnTo>
                <a:lnTo>
                  <a:pt x="515140" y="236461"/>
                </a:lnTo>
                <a:lnTo>
                  <a:pt x="463574" y="232016"/>
                </a:lnTo>
                <a:close/>
              </a:path>
              <a:path w="929639" h="1156970">
                <a:moveTo>
                  <a:pt x="448565" y="834590"/>
                </a:moveTo>
                <a:lnTo>
                  <a:pt x="441743" y="837195"/>
                </a:lnTo>
                <a:lnTo>
                  <a:pt x="436392" y="842159"/>
                </a:lnTo>
                <a:lnTo>
                  <a:pt x="433256" y="849033"/>
                </a:lnTo>
                <a:lnTo>
                  <a:pt x="433032" y="856600"/>
                </a:lnTo>
                <a:lnTo>
                  <a:pt x="435636" y="863422"/>
                </a:lnTo>
                <a:lnTo>
                  <a:pt x="440609" y="868767"/>
                </a:lnTo>
                <a:lnTo>
                  <a:pt x="447493" y="871905"/>
                </a:lnTo>
                <a:lnTo>
                  <a:pt x="563875" y="898908"/>
                </a:lnTo>
                <a:lnTo>
                  <a:pt x="571126" y="899361"/>
                </a:lnTo>
                <a:lnTo>
                  <a:pt x="579698" y="897983"/>
                </a:lnTo>
                <a:lnTo>
                  <a:pt x="602788" y="861923"/>
                </a:lnTo>
                <a:lnTo>
                  <a:pt x="602788" y="860018"/>
                </a:lnTo>
                <a:lnTo>
                  <a:pt x="564688" y="860018"/>
                </a:lnTo>
                <a:lnTo>
                  <a:pt x="456116" y="834796"/>
                </a:lnTo>
                <a:lnTo>
                  <a:pt x="448565" y="834590"/>
                </a:lnTo>
                <a:close/>
              </a:path>
              <a:path w="929639" h="1156970">
                <a:moveTo>
                  <a:pt x="609186" y="270108"/>
                </a:moveTo>
                <a:lnTo>
                  <a:pt x="463579" y="270108"/>
                </a:lnTo>
                <a:lnTo>
                  <a:pt x="508594" y="273986"/>
                </a:lnTo>
                <a:lnTo>
                  <a:pt x="552511" y="285618"/>
                </a:lnTo>
                <a:lnTo>
                  <a:pt x="594254" y="305003"/>
                </a:lnTo>
                <a:lnTo>
                  <a:pt x="631917" y="331468"/>
                </a:lnTo>
                <a:lnTo>
                  <a:pt x="663951" y="363700"/>
                </a:lnTo>
                <a:lnTo>
                  <a:pt x="689812" y="400769"/>
                </a:lnTo>
                <a:lnTo>
                  <a:pt x="708957" y="441746"/>
                </a:lnTo>
                <a:lnTo>
                  <a:pt x="720842" y="485703"/>
                </a:lnTo>
                <a:lnTo>
                  <a:pt x="724924" y="531710"/>
                </a:lnTo>
                <a:lnTo>
                  <a:pt x="721547" y="577271"/>
                </a:lnTo>
                <a:lnTo>
                  <a:pt x="709892" y="621026"/>
                </a:lnTo>
                <a:lnTo>
                  <a:pt x="690509" y="661817"/>
                </a:lnTo>
                <a:lnTo>
                  <a:pt x="663946" y="698488"/>
                </a:lnTo>
                <a:lnTo>
                  <a:pt x="630754" y="729881"/>
                </a:lnTo>
                <a:lnTo>
                  <a:pt x="629869" y="730592"/>
                </a:lnTo>
                <a:lnTo>
                  <a:pt x="629145" y="731253"/>
                </a:lnTo>
                <a:lnTo>
                  <a:pt x="596015" y="771017"/>
                </a:lnTo>
                <a:lnTo>
                  <a:pt x="567154" y="832191"/>
                </a:lnTo>
                <a:lnTo>
                  <a:pt x="564688" y="859777"/>
                </a:lnTo>
                <a:lnTo>
                  <a:pt x="564688" y="860018"/>
                </a:lnTo>
                <a:lnTo>
                  <a:pt x="602788" y="860018"/>
                </a:lnTo>
                <a:lnTo>
                  <a:pt x="602788" y="859777"/>
                </a:lnTo>
                <a:lnTo>
                  <a:pt x="604158" y="841042"/>
                </a:lnTo>
                <a:lnTo>
                  <a:pt x="610829" y="819950"/>
                </a:lnTo>
                <a:lnTo>
                  <a:pt x="626647" y="793561"/>
                </a:lnTo>
                <a:lnTo>
                  <a:pt x="655522" y="758875"/>
                </a:lnTo>
                <a:lnTo>
                  <a:pt x="693378" y="722699"/>
                </a:lnTo>
                <a:lnTo>
                  <a:pt x="723720" y="680487"/>
                </a:lnTo>
                <a:lnTo>
                  <a:pt x="745856" y="633634"/>
                </a:lnTo>
                <a:lnTo>
                  <a:pt x="759166" y="583467"/>
                </a:lnTo>
                <a:lnTo>
                  <a:pt x="762995" y="531710"/>
                </a:lnTo>
                <a:lnTo>
                  <a:pt x="763006" y="531114"/>
                </a:lnTo>
                <a:lnTo>
                  <a:pt x="758347" y="478788"/>
                </a:lnTo>
                <a:lnTo>
                  <a:pt x="744706" y="428494"/>
                </a:lnTo>
                <a:lnTo>
                  <a:pt x="722783" y="381655"/>
                </a:lnTo>
                <a:lnTo>
                  <a:pt x="693162" y="339241"/>
                </a:lnTo>
                <a:lnTo>
                  <a:pt x="656462" y="302335"/>
                </a:lnTo>
                <a:lnTo>
                  <a:pt x="613304" y="272021"/>
                </a:lnTo>
                <a:lnTo>
                  <a:pt x="609186" y="270108"/>
                </a:lnTo>
                <a:close/>
              </a:path>
              <a:path w="929639" h="1156970">
                <a:moveTo>
                  <a:pt x="907922" y="257474"/>
                </a:moveTo>
                <a:lnTo>
                  <a:pt x="829953" y="300799"/>
                </a:lnTo>
                <a:lnTo>
                  <a:pt x="820577" y="319666"/>
                </a:lnTo>
                <a:lnTo>
                  <a:pt x="822994" y="326834"/>
                </a:lnTo>
                <a:lnTo>
                  <a:pt x="826524" y="332943"/>
                </a:lnTo>
                <a:lnTo>
                  <a:pt x="832925" y="336359"/>
                </a:lnTo>
                <a:lnTo>
                  <a:pt x="842742" y="336359"/>
                </a:lnTo>
                <a:lnTo>
                  <a:pt x="919818" y="292862"/>
                </a:lnTo>
                <a:lnTo>
                  <a:pt x="929195" y="274006"/>
                </a:lnTo>
                <a:lnTo>
                  <a:pt x="926778" y="266839"/>
                </a:lnTo>
                <a:lnTo>
                  <a:pt x="921769" y="261173"/>
                </a:lnTo>
                <a:lnTo>
                  <a:pt x="915205" y="257978"/>
                </a:lnTo>
                <a:lnTo>
                  <a:pt x="907922" y="257474"/>
                </a:lnTo>
                <a:close/>
              </a:path>
              <a:path w="929639" h="1156970">
                <a:moveTo>
                  <a:pt x="21268" y="257470"/>
                </a:moveTo>
                <a:lnTo>
                  <a:pt x="13981" y="257983"/>
                </a:lnTo>
                <a:lnTo>
                  <a:pt x="7414" y="261183"/>
                </a:lnTo>
                <a:lnTo>
                  <a:pt x="2409" y="266852"/>
                </a:lnTo>
                <a:lnTo>
                  <a:pt x="0" y="274020"/>
                </a:lnTo>
                <a:lnTo>
                  <a:pt x="510" y="281306"/>
                </a:lnTo>
                <a:lnTo>
                  <a:pt x="3716" y="287871"/>
                </a:lnTo>
                <a:lnTo>
                  <a:pt x="9394" y="292874"/>
                </a:lnTo>
                <a:lnTo>
                  <a:pt x="83320" y="335534"/>
                </a:lnTo>
                <a:lnTo>
                  <a:pt x="86597" y="336359"/>
                </a:lnTo>
                <a:lnTo>
                  <a:pt x="96414" y="336359"/>
                </a:lnTo>
                <a:lnTo>
                  <a:pt x="102815" y="332930"/>
                </a:lnTo>
                <a:lnTo>
                  <a:pt x="106345" y="326821"/>
                </a:lnTo>
                <a:lnTo>
                  <a:pt x="108754" y="319648"/>
                </a:lnTo>
                <a:lnTo>
                  <a:pt x="108244" y="312362"/>
                </a:lnTo>
                <a:lnTo>
                  <a:pt x="105038" y="305801"/>
                </a:lnTo>
                <a:lnTo>
                  <a:pt x="99360" y="300799"/>
                </a:lnTo>
                <a:lnTo>
                  <a:pt x="28431" y="259867"/>
                </a:lnTo>
                <a:lnTo>
                  <a:pt x="21268" y="257470"/>
                </a:lnTo>
                <a:close/>
              </a:path>
              <a:path w="929639" h="1156970">
                <a:moveTo>
                  <a:pt x="724344" y="69042"/>
                </a:moveTo>
                <a:lnTo>
                  <a:pt x="664548" y="149339"/>
                </a:lnTo>
                <a:lnTo>
                  <a:pt x="662139" y="156513"/>
                </a:lnTo>
                <a:lnTo>
                  <a:pt x="662650" y="163799"/>
                </a:lnTo>
                <a:lnTo>
                  <a:pt x="665856" y="170365"/>
                </a:lnTo>
                <a:lnTo>
                  <a:pt x="671533" y="175374"/>
                </a:lnTo>
                <a:lnTo>
                  <a:pt x="674531" y="177101"/>
                </a:lnTo>
                <a:lnTo>
                  <a:pt x="677807" y="177927"/>
                </a:lnTo>
                <a:lnTo>
                  <a:pt x="687624" y="177927"/>
                </a:lnTo>
                <a:lnTo>
                  <a:pt x="694025" y="174498"/>
                </a:lnTo>
                <a:lnTo>
                  <a:pt x="738488" y="97485"/>
                </a:lnTo>
                <a:lnTo>
                  <a:pt x="740897" y="90311"/>
                </a:lnTo>
                <a:lnTo>
                  <a:pt x="740388" y="83024"/>
                </a:lnTo>
                <a:lnTo>
                  <a:pt x="737186" y="76459"/>
                </a:lnTo>
                <a:lnTo>
                  <a:pt x="731516" y="71450"/>
                </a:lnTo>
                <a:lnTo>
                  <a:pt x="724344" y="69042"/>
                </a:lnTo>
                <a:close/>
              </a:path>
              <a:path w="929639" h="1156970">
                <a:moveTo>
                  <a:pt x="204979" y="69042"/>
                </a:moveTo>
                <a:lnTo>
                  <a:pt x="197798" y="71450"/>
                </a:lnTo>
                <a:lnTo>
                  <a:pt x="192128" y="76459"/>
                </a:lnTo>
                <a:lnTo>
                  <a:pt x="188925" y="83024"/>
                </a:lnTo>
                <a:lnTo>
                  <a:pt x="188417" y="90311"/>
                </a:lnTo>
                <a:lnTo>
                  <a:pt x="190826" y="97485"/>
                </a:lnTo>
                <a:lnTo>
                  <a:pt x="235288" y="174498"/>
                </a:lnTo>
                <a:lnTo>
                  <a:pt x="241702" y="177927"/>
                </a:lnTo>
                <a:lnTo>
                  <a:pt x="251506" y="177927"/>
                </a:lnTo>
                <a:lnTo>
                  <a:pt x="267174" y="156513"/>
                </a:lnTo>
                <a:lnTo>
                  <a:pt x="264765" y="149339"/>
                </a:lnTo>
                <a:lnTo>
                  <a:pt x="223833" y="78435"/>
                </a:lnTo>
                <a:lnTo>
                  <a:pt x="218831" y="72762"/>
                </a:lnTo>
                <a:lnTo>
                  <a:pt x="212268" y="69556"/>
                </a:lnTo>
                <a:lnTo>
                  <a:pt x="204979" y="69042"/>
                </a:lnTo>
                <a:close/>
              </a:path>
              <a:path w="929639" h="1156970">
                <a:moveTo>
                  <a:pt x="464663" y="0"/>
                </a:moveTo>
                <a:lnTo>
                  <a:pt x="457245" y="1497"/>
                </a:lnTo>
                <a:lnTo>
                  <a:pt x="451190" y="5581"/>
                </a:lnTo>
                <a:lnTo>
                  <a:pt x="447109" y="11637"/>
                </a:lnTo>
                <a:lnTo>
                  <a:pt x="445613" y="19050"/>
                </a:lnTo>
                <a:lnTo>
                  <a:pt x="445613" y="100926"/>
                </a:lnTo>
                <a:lnTo>
                  <a:pt x="447109" y="108339"/>
                </a:lnTo>
                <a:lnTo>
                  <a:pt x="451190" y="114395"/>
                </a:lnTo>
                <a:lnTo>
                  <a:pt x="457245" y="118479"/>
                </a:lnTo>
                <a:lnTo>
                  <a:pt x="464663" y="119976"/>
                </a:lnTo>
                <a:lnTo>
                  <a:pt x="472076" y="118479"/>
                </a:lnTo>
                <a:lnTo>
                  <a:pt x="478131" y="114395"/>
                </a:lnTo>
                <a:lnTo>
                  <a:pt x="482215" y="108339"/>
                </a:lnTo>
                <a:lnTo>
                  <a:pt x="483713" y="100926"/>
                </a:lnTo>
                <a:lnTo>
                  <a:pt x="483713" y="19050"/>
                </a:lnTo>
                <a:lnTo>
                  <a:pt x="482215" y="11637"/>
                </a:lnTo>
                <a:lnTo>
                  <a:pt x="478131" y="5581"/>
                </a:lnTo>
                <a:lnTo>
                  <a:pt x="472076" y="1497"/>
                </a:lnTo>
                <a:lnTo>
                  <a:pt x="464663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6" name="object 8">
            <a:extLst>
              <a:ext uri="{FF2B5EF4-FFF2-40B4-BE49-F238E27FC236}">
                <a16:creationId xmlns:a16="http://schemas.microsoft.com/office/drawing/2014/main" id="{84BB32CD-1CCB-B24C-B6E8-78451A893E79}"/>
              </a:ext>
            </a:extLst>
          </p:cNvPr>
          <p:cNvSpPr/>
          <p:nvPr userDrawn="1"/>
        </p:nvSpPr>
        <p:spPr>
          <a:xfrm>
            <a:off x="5295900" y="2625706"/>
            <a:ext cx="121942" cy="231141"/>
          </a:xfrm>
          <a:custGeom>
            <a:avLst/>
            <a:gdLst/>
            <a:ahLst/>
            <a:cxnLst/>
            <a:rect l="l" t="t" r="r" b="b"/>
            <a:pathLst>
              <a:path w="436879" h="920115">
                <a:moveTo>
                  <a:pt x="125245" y="0"/>
                </a:moveTo>
                <a:lnTo>
                  <a:pt x="95531" y="25256"/>
                </a:lnTo>
                <a:lnTo>
                  <a:pt x="64804" y="79245"/>
                </a:lnTo>
                <a:lnTo>
                  <a:pt x="45385" y="120848"/>
                </a:lnTo>
                <a:lnTo>
                  <a:pt x="26653" y="170174"/>
                </a:lnTo>
                <a:lnTo>
                  <a:pt x="11150" y="225711"/>
                </a:lnTo>
                <a:lnTo>
                  <a:pt x="1418" y="285946"/>
                </a:lnTo>
                <a:lnTo>
                  <a:pt x="0" y="349366"/>
                </a:lnTo>
                <a:lnTo>
                  <a:pt x="9438" y="414460"/>
                </a:lnTo>
                <a:lnTo>
                  <a:pt x="28025" y="464741"/>
                </a:lnTo>
                <a:lnTo>
                  <a:pt x="56352" y="509742"/>
                </a:lnTo>
                <a:lnTo>
                  <a:pt x="91372" y="549351"/>
                </a:lnTo>
                <a:lnTo>
                  <a:pt x="130039" y="583455"/>
                </a:lnTo>
                <a:lnTo>
                  <a:pt x="169306" y="611941"/>
                </a:lnTo>
                <a:lnTo>
                  <a:pt x="206129" y="634694"/>
                </a:lnTo>
                <a:lnTo>
                  <a:pt x="260250" y="662554"/>
                </a:lnTo>
                <a:lnTo>
                  <a:pt x="243811" y="707951"/>
                </a:lnTo>
                <a:lnTo>
                  <a:pt x="220899" y="750265"/>
                </a:lnTo>
                <a:lnTo>
                  <a:pt x="191806" y="788900"/>
                </a:lnTo>
                <a:lnTo>
                  <a:pt x="156821" y="823260"/>
                </a:lnTo>
                <a:lnTo>
                  <a:pt x="107158" y="858053"/>
                </a:lnTo>
                <a:lnTo>
                  <a:pt x="52237" y="882912"/>
                </a:lnTo>
                <a:lnTo>
                  <a:pt x="45709" y="886737"/>
                </a:lnTo>
                <a:lnTo>
                  <a:pt x="41312" y="892567"/>
                </a:lnTo>
                <a:lnTo>
                  <a:pt x="39425" y="899621"/>
                </a:lnTo>
                <a:lnTo>
                  <a:pt x="40426" y="907118"/>
                </a:lnTo>
                <a:lnTo>
                  <a:pt x="43144" y="915017"/>
                </a:lnTo>
                <a:lnTo>
                  <a:pt x="50535" y="919970"/>
                </a:lnTo>
                <a:lnTo>
                  <a:pt x="60492" y="919970"/>
                </a:lnTo>
                <a:lnTo>
                  <a:pt x="126002" y="891168"/>
                </a:lnTo>
                <a:lnTo>
                  <a:pt x="181434" y="852330"/>
                </a:lnTo>
                <a:lnTo>
                  <a:pt x="216208" y="818794"/>
                </a:lnTo>
                <a:lnTo>
                  <a:pt x="245915" y="781492"/>
                </a:lnTo>
                <a:lnTo>
                  <a:pt x="270323" y="740875"/>
                </a:lnTo>
                <a:lnTo>
                  <a:pt x="289199" y="697397"/>
                </a:lnTo>
                <a:lnTo>
                  <a:pt x="302310" y="651509"/>
                </a:lnTo>
                <a:lnTo>
                  <a:pt x="309425" y="603664"/>
                </a:lnTo>
                <a:lnTo>
                  <a:pt x="310299" y="555289"/>
                </a:lnTo>
                <a:lnTo>
                  <a:pt x="304938" y="507858"/>
                </a:lnTo>
                <a:lnTo>
                  <a:pt x="293496" y="461854"/>
                </a:lnTo>
                <a:lnTo>
                  <a:pt x="276129" y="417764"/>
                </a:lnTo>
                <a:lnTo>
                  <a:pt x="252994" y="376069"/>
                </a:lnTo>
                <a:lnTo>
                  <a:pt x="224246" y="337256"/>
                </a:lnTo>
                <a:lnTo>
                  <a:pt x="211293" y="330582"/>
                </a:lnTo>
                <a:lnTo>
                  <a:pt x="204034" y="331377"/>
                </a:lnTo>
                <a:lnTo>
                  <a:pt x="225466" y="403930"/>
                </a:lnTo>
                <a:lnTo>
                  <a:pt x="248487" y="449557"/>
                </a:lnTo>
                <a:lnTo>
                  <a:pt x="263988" y="498029"/>
                </a:lnTo>
                <a:lnTo>
                  <a:pt x="271727" y="548598"/>
                </a:lnTo>
                <a:lnTo>
                  <a:pt x="271464" y="600515"/>
                </a:lnTo>
                <a:lnTo>
                  <a:pt x="268327" y="624200"/>
                </a:lnTo>
                <a:lnTo>
                  <a:pt x="241566" y="610580"/>
                </a:lnTo>
                <a:lnTo>
                  <a:pt x="207104" y="590660"/>
                </a:lnTo>
                <a:lnTo>
                  <a:pt x="168576" y="564697"/>
                </a:lnTo>
                <a:lnTo>
                  <a:pt x="129617" y="532949"/>
                </a:lnTo>
                <a:lnTo>
                  <a:pt x="93859" y="495672"/>
                </a:lnTo>
                <a:lnTo>
                  <a:pt x="64937" y="453122"/>
                </a:lnTo>
                <a:lnTo>
                  <a:pt x="46484" y="405557"/>
                </a:lnTo>
                <a:lnTo>
                  <a:pt x="37964" y="344872"/>
                </a:lnTo>
                <a:lnTo>
                  <a:pt x="39905" y="285398"/>
                </a:lnTo>
                <a:lnTo>
                  <a:pt x="49767" y="228740"/>
                </a:lnTo>
                <a:lnTo>
                  <a:pt x="65008" y="176501"/>
                </a:lnTo>
                <a:lnTo>
                  <a:pt x="83089" y="130288"/>
                </a:lnTo>
                <a:lnTo>
                  <a:pt x="101467" y="91705"/>
                </a:lnTo>
                <a:lnTo>
                  <a:pt x="128958" y="43848"/>
                </a:lnTo>
                <a:lnTo>
                  <a:pt x="142178" y="51798"/>
                </a:lnTo>
                <a:lnTo>
                  <a:pt x="192519" y="84506"/>
                </a:lnTo>
                <a:lnTo>
                  <a:pt x="237404" y="117821"/>
                </a:lnTo>
                <a:lnTo>
                  <a:pt x="276808" y="151712"/>
                </a:lnTo>
                <a:lnTo>
                  <a:pt x="310703" y="186149"/>
                </a:lnTo>
                <a:lnTo>
                  <a:pt x="339061" y="221101"/>
                </a:lnTo>
                <a:lnTo>
                  <a:pt x="361858" y="256538"/>
                </a:lnTo>
                <a:lnTo>
                  <a:pt x="379064" y="292431"/>
                </a:lnTo>
                <a:lnTo>
                  <a:pt x="390654" y="328747"/>
                </a:lnTo>
                <a:lnTo>
                  <a:pt x="398150" y="374838"/>
                </a:lnTo>
                <a:lnTo>
                  <a:pt x="398700" y="421541"/>
                </a:lnTo>
                <a:lnTo>
                  <a:pt x="392319" y="468750"/>
                </a:lnTo>
                <a:lnTo>
                  <a:pt x="379019" y="516361"/>
                </a:lnTo>
                <a:lnTo>
                  <a:pt x="358815" y="564269"/>
                </a:lnTo>
                <a:lnTo>
                  <a:pt x="356877" y="571583"/>
                </a:lnTo>
                <a:lnTo>
                  <a:pt x="357866" y="578821"/>
                </a:lnTo>
                <a:lnTo>
                  <a:pt x="361497" y="585163"/>
                </a:lnTo>
                <a:lnTo>
                  <a:pt x="367489" y="589783"/>
                </a:lnTo>
                <a:lnTo>
                  <a:pt x="374788" y="591710"/>
                </a:lnTo>
                <a:lnTo>
                  <a:pt x="382021" y="590723"/>
                </a:lnTo>
                <a:lnTo>
                  <a:pt x="415249" y="528232"/>
                </a:lnTo>
                <a:lnTo>
                  <a:pt x="429864" y="475551"/>
                </a:lnTo>
                <a:lnTo>
                  <a:pt x="436821" y="423184"/>
                </a:lnTo>
                <a:lnTo>
                  <a:pt x="436104" y="371247"/>
                </a:lnTo>
                <a:lnTo>
                  <a:pt x="427700" y="319857"/>
                </a:lnTo>
                <a:lnTo>
                  <a:pt x="410177" y="267973"/>
                </a:lnTo>
                <a:lnTo>
                  <a:pt x="384926" y="220480"/>
                </a:lnTo>
                <a:lnTo>
                  <a:pt x="353974" y="177478"/>
                </a:lnTo>
                <a:lnTo>
                  <a:pt x="319348" y="139064"/>
                </a:lnTo>
                <a:lnTo>
                  <a:pt x="283074" y="105338"/>
                </a:lnTo>
                <a:lnTo>
                  <a:pt x="247180" y="76398"/>
                </a:lnTo>
                <a:lnTo>
                  <a:pt x="213692" y="52344"/>
                </a:lnTo>
                <a:lnTo>
                  <a:pt x="146979" y="10054"/>
                </a:lnTo>
                <a:lnTo>
                  <a:pt x="131866" y="2065"/>
                </a:lnTo>
                <a:lnTo>
                  <a:pt x="12524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0B47886E-10DE-49F4-8B9B-70C0FEFC0B2D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728844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160" name="object 22">
            <a:extLst>
              <a:ext uri="{FF2B5EF4-FFF2-40B4-BE49-F238E27FC236}">
                <a16:creationId xmlns:a16="http://schemas.microsoft.com/office/drawing/2014/main" id="{98049034-375B-5542-A92F-3D0406F67593}"/>
              </a:ext>
            </a:extLst>
          </p:cNvPr>
          <p:cNvSpPr/>
          <p:nvPr userDrawn="1"/>
        </p:nvSpPr>
        <p:spPr>
          <a:xfrm>
            <a:off x="539556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1" name="object 22">
            <a:extLst>
              <a:ext uri="{FF2B5EF4-FFF2-40B4-BE49-F238E27FC236}">
                <a16:creationId xmlns:a16="http://schemas.microsoft.com/office/drawing/2014/main" id="{5F0E8CA3-FF29-8E42-AB88-1667B629AB6C}"/>
              </a:ext>
            </a:extLst>
          </p:cNvPr>
          <p:cNvSpPr/>
          <p:nvPr userDrawn="1"/>
        </p:nvSpPr>
        <p:spPr>
          <a:xfrm>
            <a:off x="2786512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2" name="object 22">
            <a:extLst>
              <a:ext uri="{FF2B5EF4-FFF2-40B4-BE49-F238E27FC236}">
                <a16:creationId xmlns:a16="http://schemas.microsoft.com/office/drawing/2014/main" id="{CA80C39E-E8B1-1A49-89D5-77227D07650A}"/>
              </a:ext>
            </a:extLst>
          </p:cNvPr>
          <p:cNvSpPr/>
          <p:nvPr userDrawn="1"/>
        </p:nvSpPr>
        <p:spPr>
          <a:xfrm>
            <a:off x="5033469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3" name="object 22">
            <a:extLst>
              <a:ext uri="{FF2B5EF4-FFF2-40B4-BE49-F238E27FC236}">
                <a16:creationId xmlns:a16="http://schemas.microsoft.com/office/drawing/2014/main" id="{978AFDEE-F2EB-4F49-BE7D-70F61DCC813F}"/>
              </a:ext>
            </a:extLst>
          </p:cNvPr>
          <p:cNvSpPr/>
          <p:nvPr userDrawn="1"/>
        </p:nvSpPr>
        <p:spPr>
          <a:xfrm>
            <a:off x="7280425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4" name="object 22">
            <a:extLst>
              <a:ext uri="{FF2B5EF4-FFF2-40B4-BE49-F238E27FC236}">
                <a16:creationId xmlns:a16="http://schemas.microsoft.com/office/drawing/2014/main" id="{ABAA9A26-6BD3-744B-B068-ADD5BBE695EB}"/>
              </a:ext>
            </a:extLst>
          </p:cNvPr>
          <p:cNvSpPr/>
          <p:nvPr userDrawn="1"/>
        </p:nvSpPr>
        <p:spPr>
          <a:xfrm>
            <a:off x="9527382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9" name="Holder 3">
            <a:extLst>
              <a:ext uri="{FF2B5EF4-FFF2-40B4-BE49-F238E27FC236}">
                <a16:creationId xmlns:a16="http://schemas.microsoft.com/office/drawing/2014/main" id="{524A4978-7786-E840-B3E7-FE7E6DE67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42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70" name="object 12">
            <a:extLst>
              <a:ext uri="{FF2B5EF4-FFF2-40B4-BE49-F238E27FC236}">
                <a16:creationId xmlns:a16="http://schemas.microsoft.com/office/drawing/2014/main" id="{45ABDF64-528E-4740-A069-BEAC3C5F9E63}"/>
              </a:ext>
            </a:extLst>
          </p:cNvPr>
          <p:cNvSpPr/>
          <p:nvPr userDrawn="1"/>
        </p:nvSpPr>
        <p:spPr>
          <a:xfrm>
            <a:off x="2798922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1" name="object 12">
            <a:extLst>
              <a:ext uri="{FF2B5EF4-FFF2-40B4-BE49-F238E27FC236}">
                <a16:creationId xmlns:a16="http://schemas.microsoft.com/office/drawing/2014/main" id="{D08016B5-E39A-4C4E-BC49-EDB03A582887}"/>
              </a:ext>
            </a:extLst>
          </p:cNvPr>
          <p:cNvSpPr/>
          <p:nvPr userDrawn="1"/>
        </p:nvSpPr>
        <p:spPr>
          <a:xfrm>
            <a:off x="5068296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2" name="object 12">
            <a:extLst>
              <a:ext uri="{FF2B5EF4-FFF2-40B4-BE49-F238E27FC236}">
                <a16:creationId xmlns:a16="http://schemas.microsoft.com/office/drawing/2014/main" id="{99E55F4E-A547-0148-98D8-6F009103C81E}"/>
              </a:ext>
            </a:extLst>
          </p:cNvPr>
          <p:cNvSpPr/>
          <p:nvPr userDrawn="1"/>
        </p:nvSpPr>
        <p:spPr>
          <a:xfrm>
            <a:off x="7326592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3" name="object 12">
            <a:extLst>
              <a:ext uri="{FF2B5EF4-FFF2-40B4-BE49-F238E27FC236}">
                <a16:creationId xmlns:a16="http://schemas.microsoft.com/office/drawing/2014/main" id="{8D3CA7E7-DFBE-CA49-A67F-16528F3EEFBF}"/>
              </a:ext>
            </a:extLst>
          </p:cNvPr>
          <p:cNvSpPr/>
          <p:nvPr userDrawn="1"/>
        </p:nvSpPr>
        <p:spPr>
          <a:xfrm>
            <a:off x="9595967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4" name="object 12">
            <a:extLst>
              <a:ext uri="{FF2B5EF4-FFF2-40B4-BE49-F238E27FC236}">
                <a16:creationId xmlns:a16="http://schemas.microsoft.com/office/drawing/2014/main" id="{4C811BEB-AA77-BF48-AB78-40DCB36E09F9}"/>
              </a:ext>
            </a:extLst>
          </p:cNvPr>
          <p:cNvSpPr/>
          <p:nvPr userDrawn="1"/>
        </p:nvSpPr>
        <p:spPr>
          <a:xfrm>
            <a:off x="540626" y="1416907"/>
            <a:ext cx="2382327" cy="464852"/>
          </a:xfrm>
          <a:custGeom>
            <a:avLst/>
            <a:gdLst>
              <a:gd name="connsiteX0" fmla="*/ 2744355 w 3176435"/>
              <a:gd name="connsiteY0" fmla="*/ 0 h 965390"/>
              <a:gd name="connsiteX1" fmla="*/ 0 w 3176435"/>
              <a:gd name="connsiteY1" fmla="*/ 0 h 965390"/>
              <a:gd name="connsiteX2" fmla="*/ 0 w 3176435"/>
              <a:gd name="connsiteY2" fmla="*/ 12115 h 965390"/>
              <a:gd name="connsiteX3" fmla="*/ 0 w 3176435"/>
              <a:gd name="connsiteY3" fmla="*/ 937056 h 965390"/>
              <a:gd name="connsiteX4" fmla="*/ 0 w 3176435"/>
              <a:gd name="connsiteY4" fmla="*/ 965390 h 965390"/>
              <a:gd name="connsiteX5" fmla="*/ 2744355 w 3176435"/>
              <a:gd name="connsiteY5" fmla="*/ 965390 h 965390"/>
              <a:gd name="connsiteX6" fmla="*/ 2744355 w 3176435"/>
              <a:gd name="connsiteY6" fmla="*/ 949172 h 965390"/>
              <a:gd name="connsiteX7" fmla="*/ 3176435 w 3176435"/>
              <a:gd name="connsiteY7" fmla="*/ 474586 h 965390"/>
              <a:gd name="connsiteX8" fmla="*/ 2744355 w 3176435"/>
              <a:gd name="connsiteY8" fmla="*/ 0 h 96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6435" h="965390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5" name="Espace réservé du texte 3">
            <a:extLst>
              <a:ext uri="{FF2B5EF4-FFF2-40B4-BE49-F238E27FC236}">
                <a16:creationId xmlns:a16="http://schemas.microsoft.com/office/drawing/2014/main" id="{B1CBC322-F184-514A-98DB-E48118D56A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5226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6" name="Espace réservé du texte 3">
            <a:extLst>
              <a:ext uri="{FF2B5EF4-FFF2-40B4-BE49-F238E27FC236}">
                <a16:creationId xmlns:a16="http://schemas.microsoft.com/office/drawing/2014/main" id="{B76BB0AF-ADB1-DE43-AB88-5F092C8517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7594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7" name="Espace réservé du texte 3">
            <a:extLst>
              <a:ext uri="{FF2B5EF4-FFF2-40B4-BE49-F238E27FC236}">
                <a16:creationId xmlns:a16="http://schemas.microsoft.com/office/drawing/2014/main" id="{8EE80F72-F106-BC48-8DF2-706288472D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52170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8" name="Espace réservé du texte 3">
            <a:extLst>
              <a:ext uri="{FF2B5EF4-FFF2-40B4-BE49-F238E27FC236}">
                <a16:creationId xmlns:a16="http://schemas.microsoft.com/office/drawing/2014/main" id="{AD6DAB6D-4099-2945-B6DC-E83B12DC43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73088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9" name="Espace réservé du texte 3">
            <a:extLst>
              <a:ext uri="{FF2B5EF4-FFF2-40B4-BE49-F238E27FC236}">
                <a16:creationId xmlns:a16="http://schemas.microsoft.com/office/drawing/2014/main" id="{06D32F52-4D78-1644-B919-8258EC6B28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07598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85" name="Holder 3">
            <a:extLst>
              <a:ext uri="{FF2B5EF4-FFF2-40B4-BE49-F238E27FC236}">
                <a16:creationId xmlns:a16="http://schemas.microsoft.com/office/drawing/2014/main" id="{86680BFB-231D-1D48-8DC9-261F44ABE321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2945701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0" name="Holder 3">
            <a:extLst>
              <a:ext uri="{FF2B5EF4-FFF2-40B4-BE49-F238E27FC236}">
                <a16:creationId xmlns:a16="http://schemas.microsoft.com/office/drawing/2014/main" id="{1CF957DE-728E-D642-B01C-606090C2BA3E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5186776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5" name="Holder 3">
            <a:extLst>
              <a:ext uri="{FF2B5EF4-FFF2-40B4-BE49-F238E27FC236}">
                <a16:creationId xmlns:a16="http://schemas.microsoft.com/office/drawing/2014/main" id="{98E93902-F572-1449-BC62-5502774780B4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7421976" y="257851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00" name="Holder 3">
            <a:extLst>
              <a:ext uri="{FF2B5EF4-FFF2-40B4-BE49-F238E27FC236}">
                <a16:creationId xmlns:a16="http://schemas.microsoft.com/office/drawing/2014/main" id="{A2E4D68E-18F7-FC46-8CFB-44B860115BBB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9677390" y="2598973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42" name="Titre 13">
            <a:extLst>
              <a:ext uri="{FF2B5EF4-FFF2-40B4-BE49-F238E27FC236}">
                <a16:creationId xmlns:a16="http://schemas.microsoft.com/office/drawing/2014/main" id="{8E551535-5ED7-4615-8687-F7ADD95D3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66508829-F810-4353-A053-9C3B85274F4F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592042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160" name="object 22">
            <a:extLst>
              <a:ext uri="{FF2B5EF4-FFF2-40B4-BE49-F238E27FC236}">
                <a16:creationId xmlns:a16="http://schemas.microsoft.com/office/drawing/2014/main" id="{98049034-375B-5542-A92F-3D0406F67593}"/>
              </a:ext>
            </a:extLst>
          </p:cNvPr>
          <p:cNvSpPr/>
          <p:nvPr userDrawn="1"/>
        </p:nvSpPr>
        <p:spPr>
          <a:xfrm>
            <a:off x="539556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1" name="object 22">
            <a:extLst>
              <a:ext uri="{FF2B5EF4-FFF2-40B4-BE49-F238E27FC236}">
                <a16:creationId xmlns:a16="http://schemas.microsoft.com/office/drawing/2014/main" id="{5F0E8CA3-FF29-8E42-AB88-1667B629AB6C}"/>
              </a:ext>
            </a:extLst>
          </p:cNvPr>
          <p:cNvSpPr/>
          <p:nvPr userDrawn="1"/>
        </p:nvSpPr>
        <p:spPr>
          <a:xfrm>
            <a:off x="2786512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2" name="object 22">
            <a:extLst>
              <a:ext uri="{FF2B5EF4-FFF2-40B4-BE49-F238E27FC236}">
                <a16:creationId xmlns:a16="http://schemas.microsoft.com/office/drawing/2014/main" id="{CA80C39E-E8B1-1A49-89D5-77227D07650A}"/>
              </a:ext>
            </a:extLst>
          </p:cNvPr>
          <p:cNvSpPr/>
          <p:nvPr userDrawn="1"/>
        </p:nvSpPr>
        <p:spPr>
          <a:xfrm>
            <a:off x="5033469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3" name="object 22">
            <a:extLst>
              <a:ext uri="{FF2B5EF4-FFF2-40B4-BE49-F238E27FC236}">
                <a16:creationId xmlns:a16="http://schemas.microsoft.com/office/drawing/2014/main" id="{978AFDEE-F2EB-4F49-BE7D-70F61DCC813F}"/>
              </a:ext>
            </a:extLst>
          </p:cNvPr>
          <p:cNvSpPr/>
          <p:nvPr userDrawn="1"/>
        </p:nvSpPr>
        <p:spPr>
          <a:xfrm>
            <a:off x="7280425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4" name="object 22">
            <a:extLst>
              <a:ext uri="{FF2B5EF4-FFF2-40B4-BE49-F238E27FC236}">
                <a16:creationId xmlns:a16="http://schemas.microsoft.com/office/drawing/2014/main" id="{ABAA9A26-6BD3-744B-B068-ADD5BBE695EB}"/>
              </a:ext>
            </a:extLst>
          </p:cNvPr>
          <p:cNvSpPr/>
          <p:nvPr userDrawn="1"/>
        </p:nvSpPr>
        <p:spPr>
          <a:xfrm>
            <a:off x="9527382" y="1993918"/>
            <a:ext cx="2055019" cy="3459915"/>
          </a:xfrm>
          <a:custGeom>
            <a:avLst/>
            <a:gdLst/>
            <a:ahLst/>
            <a:cxnLst/>
            <a:rect l="l" t="t" r="r" b="b"/>
            <a:pathLst>
              <a:path w="2740025" h="5410200">
                <a:moveTo>
                  <a:pt x="2740025" y="0"/>
                </a:moveTo>
                <a:lnTo>
                  <a:pt x="0" y="0"/>
                </a:lnTo>
                <a:lnTo>
                  <a:pt x="0" y="5410200"/>
                </a:lnTo>
                <a:lnTo>
                  <a:pt x="2740025" y="5410200"/>
                </a:lnTo>
                <a:lnTo>
                  <a:pt x="2740025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9" name="Holder 3">
            <a:extLst>
              <a:ext uri="{FF2B5EF4-FFF2-40B4-BE49-F238E27FC236}">
                <a16:creationId xmlns:a16="http://schemas.microsoft.com/office/drawing/2014/main" id="{524A4978-7786-E840-B3E7-FE7E6DE67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42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70" name="object 12">
            <a:extLst>
              <a:ext uri="{FF2B5EF4-FFF2-40B4-BE49-F238E27FC236}">
                <a16:creationId xmlns:a16="http://schemas.microsoft.com/office/drawing/2014/main" id="{45ABDF64-528E-4740-A069-BEAC3C5F9E63}"/>
              </a:ext>
            </a:extLst>
          </p:cNvPr>
          <p:cNvSpPr/>
          <p:nvPr userDrawn="1"/>
        </p:nvSpPr>
        <p:spPr>
          <a:xfrm>
            <a:off x="2798922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1" name="object 12">
            <a:extLst>
              <a:ext uri="{FF2B5EF4-FFF2-40B4-BE49-F238E27FC236}">
                <a16:creationId xmlns:a16="http://schemas.microsoft.com/office/drawing/2014/main" id="{D08016B5-E39A-4C4E-BC49-EDB03A582887}"/>
              </a:ext>
            </a:extLst>
          </p:cNvPr>
          <p:cNvSpPr/>
          <p:nvPr userDrawn="1"/>
        </p:nvSpPr>
        <p:spPr>
          <a:xfrm>
            <a:off x="5068296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2" name="object 12">
            <a:extLst>
              <a:ext uri="{FF2B5EF4-FFF2-40B4-BE49-F238E27FC236}">
                <a16:creationId xmlns:a16="http://schemas.microsoft.com/office/drawing/2014/main" id="{99E55F4E-A547-0148-98D8-6F009103C81E}"/>
              </a:ext>
            </a:extLst>
          </p:cNvPr>
          <p:cNvSpPr/>
          <p:nvPr userDrawn="1"/>
        </p:nvSpPr>
        <p:spPr>
          <a:xfrm>
            <a:off x="7326592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3" name="object 12">
            <a:extLst>
              <a:ext uri="{FF2B5EF4-FFF2-40B4-BE49-F238E27FC236}">
                <a16:creationId xmlns:a16="http://schemas.microsoft.com/office/drawing/2014/main" id="{8D3CA7E7-DFBE-CA49-A67F-16528F3EEFBF}"/>
              </a:ext>
            </a:extLst>
          </p:cNvPr>
          <p:cNvSpPr/>
          <p:nvPr userDrawn="1"/>
        </p:nvSpPr>
        <p:spPr>
          <a:xfrm>
            <a:off x="9595967" y="1404168"/>
            <a:ext cx="2382679" cy="465066"/>
          </a:xfrm>
          <a:custGeom>
            <a:avLst/>
            <a:gdLst/>
            <a:ahLst/>
            <a:cxnLst/>
            <a:rect l="l" t="t" r="r" b="b"/>
            <a:pathLst>
              <a:path w="3176904" h="965835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421055" y="474586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4" name="object 12">
            <a:extLst>
              <a:ext uri="{FF2B5EF4-FFF2-40B4-BE49-F238E27FC236}">
                <a16:creationId xmlns:a16="http://schemas.microsoft.com/office/drawing/2014/main" id="{4C811BEB-AA77-BF48-AB78-40DCB36E09F9}"/>
              </a:ext>
            </a:extLst>
          </p:cNvPr>
          <p:cNvSpPr/>
          <p:nvPr userDrawn="1"/>
        </p:nvSpPr>
        <p:spPr>
          <a:xfrm>
            <a:off x="540626" y="1416907"/>
            <a:ext cx="2382327" cy="464852"/>
          </a:xfrm>
          <a:custGeom>
            <a:avLst/>
            <a:gdLst>
              <a:gd name="connsiteX0" fmla="*/ 2744355 w 3176435"/>
              <a:gd name="connsiteY0" fmla="*/ 0 h 965390"/>
              <a:gd name="connsiteX1" fmla="*/ 0 w 3176435"/>
              <a:gd name="connsiteY1" fmla="*/ 0 h 965390"/>
              <a:gd name="connsiteX2" fmla="*/ 0 w 3176435"/>
              <a:gd name="connsiteY2" fmla="*/ 12115 h 965390"/>
              <a:gd name="connsiteX3" fmla="*/ 0 w 3176435"/>
              <a:gd name="connsiteY3" fmla="*/ 937056 h 965390"/>
              <a:gd name="connsiteX4" fmla="*/ 0 w 3176435"/>
              <a:gd name="connsiteY4" fmla="*/ 965390 h 965390"/>
              <a:gd name="connsiteX5" fmla="*/ 2744355 w 3176435"/>
              <a:gd name="connsiteY5" fmla="*/ 965390 h 965390"/>
              <a:gd name="connsiteX6" fmla="*/ 2744355 w 3176435"/>
              <a:gd name="connsiteY6" fmla="*/ 949172 h 965390"/>
              <a:gd name="connsiteX7" fmla="*/ 3176435 w 3176435"/>
              <a:gd name="connsiteY7" fmla="*/ 474586 h 965390"/>
              <a:gd name="connsiteX8" fmla="*/ 2744355 w 3176435"/>
              <a:gd name="connsiteY8" fmla="*/ 0 h 96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76435" h="965390">
                <a:moveTo>
                  <a:pt x="2744355" y="0"/>
                </a:moveTo>
                <a:lnTo>
                  <a:pt x="0" y="0"/>
                </a:lnTo>
                <a:lnTo>
                  <a:pt x="0" y="12115"/>
                </a:lnTo>
                <a:lnTo>
                  <a:pt x="0" y="937056"/>
                </a:lnTo>
                <a:lnTo>
                  <a:pt x="0" y="965390"/>
                </a:lnTo>
                <a:lnTo>
                  <a:pt x="2744355" y="965390"/>
                </a:lnTo>
                <a:lnTo>
                  <a:pt x="2744355" y="949172"/>
                </a:lnTo>
                <a:lnTo>
                  <a:pt x="3176435" y="474586"/>
                </a:lnTo>
                <a:lnTo>
                  <a:pt x="2744355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5" name="Espace réservé du texte 3">
            <a:extLst>
              <a:ext uri="{FF2B5EF4-FFF2-40B4-BE49-F238E27FC236}">
                <a16:creationId xmlns:a16="http://schemas.microsoft.com/office/drawing/2014/main" id="{B1CBC322-F184-514A-98DB-E48118D56A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5226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6" name="Espace réservé du texte 3">
            <a:extLst>
              <a:ext uri="{FF2B5EF4-FFF2-40B4-BE49-F238E27FC236}">
                <a16:creationId xmlns:a16="http://schemas.microsoft.com/office/drawing/2014/main" id="{B76BB0AF-ADB1-DE43-AB88-5F092C8517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7594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7" name="Espace réservé du texte 3">
            <a:extLst>
              <a:ext uri="{FF2B5EF4-FFF2-40B4-BE49-F238E27FC236}">
                <a16:creationId xmlns:a16="http://schemas.microsoft.com/office/drawing/2014/main" id="{8EE80F72-F106-BC48-8DF2-706288472D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52170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8" name="Espace réservé du texte 3">
            <a:extLst>
              <a:ext uri="{FF2B5EF4-FFF2-40B4-BE49-F238E27FC236}">
                <a16:creationId xmlns:a16="http://schemas.microsoft.com/office/drawing/2014/main" id="{AD6DAB6D-4099-2945-B6DC-E83B12DC43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73088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79" name="Espace réservé du texte 3">
            <a:extLst>
              <a:ext uri="{FF2B5EF4-FFF2-40B4-BE49-F238E27FC236}">
                <a16:creationId xmlns:a16="http://schemas.microsoft.com/office/drawing/2014/main" id="{06D32F52-4D78-1644-B919-8258EC6B28D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07598" y="1404167"/>
            <a:ext cx="1491560" cy="249299"/>
          </a:xfrm>
        </p:spPr>
        <p:txBody>
          <a:bodyPr/>
          <a:lstStyle>
            <a:lvl1pPr>
              <a:defRPr sz="16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r</a:t>
            </a:r>
          </a:p>
        </p:txBody>
      </p:sp>
      <p:sp>
        <p:nvSpPr>
          <p:cNvPr id="185" name="Holder 3">
            <a:extLst>
              <a:ext uri="{FF2B5EF4-FFF2-40B4-BE49-F238E27FC236}">
                <a16:creationId xmlns:a16="http://schemas.microsoft.com/office/drawing/2014/main" id="{86680BFB-231D-1D48-8DC9-261F44ABE321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2945701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0" name="Holder 3">
            <a:extLst>
              <a:ext uri="{FF2B5EF4-FFF2-40B4-BE49-F238E27FC236}">
                <a16:creationId xmlns:a16="http://schemas.microsoft.com/office/drawing/2014/main" id="{1CF957DE-728E-D642-B01C-606090C2BA3E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5186776" y="256708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195" name="Holder 3">
            <a:extLst>
              <a:ext uri="{FF2B5EF4-FFF2-40B4-BE49-F238E27FC236}">
                <a16:creationId xmlns:a16="http://schemas.microsoft.com/office/drawing/2014/main" id="{98E93902-F572-1449-BC62-5502774780B4}"/>
              </a:ext>
            </a:extLst>
          </p:cNvPr>
          <p:cNvSpPr>
            <a:spLocks noGrp="1"/>
          </p:cNvSpPr>
          <p:nvPr>
            <p:ph type="body" idx="35"/>
          </p:nvPr>
        </p:nvSpPr>
        <p:spPr>
          <a:xfrm>
            <a:off x="7421976" y="2578516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200" name="Holder 3">
            <a:extLst>
              <a:ext uri="{FF2B5EF4-FFF2-40B4-BE49-F238E27FC236}">
                <a16:creationId xmlns:a16="http://schemas.microsoft.com/office/drawing/2014/main" id="{A2E4D68E-18F7-FC46-8CFB-44B860115BBB}"/>
              </a:ext>
            </a:extLst>
          </p:cNvPr>
          <p:cNvSpPr>
            <a:spLocks noGrp="1"/>
          </p:cNvSpPr>
          <p:nvPr>
            <p:ph type="body" idx="37"/>
          </p:nvPr>
        </p:nvSpPr>
        <p:spPr>
          <a:xfrm>
            <a:off x="9677390" y="2598973"/>
            <a:ext cx="1766236" cy="103875"/>
          </a:xfrm>
        </p:spPr>
        <p:txBody>
          <a:bodyPr lIns="0" tIns="0" rIns="0" bIns="0"/>
          <a:lstStyle>
            <a:lvl1pPr marL="0" algn="l" rtl="0">
              <a:defRPr sz="675"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42" name="Titre 13">
            <a:extLst>
              <a:ext uri="{FF2B5EF4-FFF2-40B4-BE49-F238E27FC236}">
                <a16:creationId xmlns:a16="http://schemas.microsoft.com/office/drawing/2014/main" id="{8E551535-5ED7-4615-8687-F7ADD95D3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7B369A09-470C-4AB0-BEBD-873B730A177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729621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>
            <a:extLst>
              <a:ext uri="{FF2B5EF4-FFF2-40B4-BE49-F238E27FC236}">
                <a16:creationId xmlns:a16="http://schemas.microsoft.com/office/drawing/2014/main" id="{07DED249-11B6-B14C-8033-773B326BE446}"/>
              </a:ext>
            </a:extLst>
          </p:cNvPr>
          <p:cNvSpPr/>
          <p:nvPr userDrawn="1"/>
        </p:nvSpPr>
        <p:spPr>
          <a:xfrm>
            <a:off x="0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CEE7E22E-A620-E24B-903B-5EB918795D14}"/>
              </a:ext>
            </a:extLst>
          </p:cNvPr>
          <p:cNvSpPr/>
          <p:nvPr userDrawn="1"/>
        </p:nvSpPr>
        <p:spPr>
          <a:xfrm>
            <a:off x="4064002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5C53861E-8290-B94D-A532-201EECE8598D}"/>
              </a:ext>
            </a:extLst>
          </p:cNvPr>
          <p:cNvSpPr/>
          <p:nvPr userDrawn="1"/>
        </p:nvSpPr>
        <p:spPr>
          <a:xfrm>
            <a:off x="8127997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4" y="290856"/>
            <a:ext cx="7784780" cy="727122"/>
          </a:xfrm>
        </p:spPr>
        <p:txBody>
          <a:bodyPr/>
          <a:lstStyle>
            <a:lvl1pPr>
              <a:defRPr lang="fr-FR" sz="4725" b="1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>
                <a:effectLst/>
                <a:latin typeface="Baloo 2" pitchFamily="2" charset="77"/>
              </a:rPr>
              <a:t>Sommaire</a:t>
            </a:r>
            <a:endParaRPr lang="fr-FR"/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E681F0E9-C056-1742-A78A-5D123E6CDC4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6" name="Espace réservé du texte 48">
            <a:extLst>
              <a:ext uri="{FF2B5EF4-FFF2-40B4-BE49-F238E27FC236}">
                <a16:creationId xmlns:a16="http://schemas.microsoft.com/office/drawing/2014/main" id="{93DA28FB-1D69-3A43-BE8D-61494C7E07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86548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28" name="Espace réservé du texte 48">
            <a:extLst>
              <a:ext uri="{FF2B5EF4-FFF2-40B4-BE49-F238E27FC236}">
                <a16:creationId xmlns:a16="http://schemas.microsoft.com/office/drawing/2014/main" id="{BA35FE47-FB85-9A4E-8ABE-2EDFE7A880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660" y="2960423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0" name="Espace réservé du texte 48">
            <a:extLst>
              <a:ext uri="{FF2B5EF4-FFF2-40B4-BE49-F238E27FC236}">
                <a16:creationId xmlns:a16="http://schemas.microsoft.com/office/drawing/2014/main" id="{EE083E7E-79C2-494F-9CBF-047DCEF6A8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6548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523539CB-E8EF-0442-9B39-C1EAEEF5B2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53377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6" name="Espace réservé du texte 48">
            <a:extLst>
              <a:ext uri="{FF2B5EF4-FFF2-40B4-BE49-F238E27FC236}">
                <a16:creationId xmlns:a16="http://schemas.microsoft.com/office/drawing/2014/main" id="{1880F3D0-EFE6-FB42-88F8-078AA05A25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1489" y="2960423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7" name="Espace réservé du texte 48">
            <a:extLst>
              <a:ext uri="{FF2B5EF4-FFF2-40B4-BE49-F238E27FC236}">
                <a16:creationId xmlns:a16="http://schemas.microsoft.com/office/drawing/2014/main" id="{FB16BB0D-20D6-C543-A4EA-13963B14D0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53377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1" name="Espace réservé du texte 48">
            <a:extLst>
              <a:ext uri="{FF2B5EF4-FFF2-40B4-BE49-F238E27FC236}">
                <a16:creationId xmlns:a16="http://schemas.microsoft.com/office/drawing/2014/main" id="{CA1697B9-B294-1B46-A2AF-384D9DE07A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2589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2" name="Espace réservé du texte 48">
            <a:extLst>
              <a:ext uri="{FF2B5EF4-FFF2-40B4-BE49-F238E27FC236}">
                <a16:creationId xmlns:a16="http://schemas.microsoft.com/office/drawing/2014/main" id="{13FD1D28-A30C-524D-A5BF-5143BA416E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05492" y="296328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3" name="Espace réservé du texte 48">
            <a:extLst>
              <a:ext uri="{FF2B5EF4-FFF2-40B4-BE49-F238E27FC236}">
                <a16:creationId xmlns:a16="http://schemas.microsoft.com/office/drawing/2014/main" id="{84583539-F8DE-164E-934A-2B4AF5D4EC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27277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7CC105BB-F11C-6149-A4CD-81F583C9EF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584" y="171498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1.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B430C98-0CE4-FC44-910F-FE0B566EB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192" y="3010488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2.</a:t>
            </a: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CEC33AE4-F3D6-3E42-917D-E261FC9047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431" y="425196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3.</a:t>
            </a:r>
          </a:p>
        </p:txBody>
      </p:sp>
      <p:sp>
        <p:nvSpPr>
          <p:cNvPr id="52" name="Espace réservé du texte 2">
            <a:extLst>
              <a:ext uri="{FF2B5EF4-FFF2-40B4-BE49-F238E27FC236}">
                <a16:creationId xmlns:a16="http://schemas.microsoft.com/office/drawing/2014/main" id="{EE4B7000-D214-764A-B8AD-ABEA0A28E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29161" y="301752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5.</a:t>
            </a: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FD4C2687-75CD-BD4F-8F1C-76A958F6BE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4400" y="425899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6.</a:t>
            </a:r>
          </a:p>
        </p:txBody>
      </p:sp>
      <p:sp>
        <p:nvSpPr>
          <p:cNvPr id="54" name="Espace réservé du texte 2">
            <a:extLst>
              <a:ext uri="{FF2B5EF4-FFF2-40B4-BE49-F238E27FC236}">
                <a16:creationId xmlns:a16="http://schemas.microsoft.com/office/drawing/2014/main" id="{635257B4-B304-C349-95E6-46284B5FAF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78263" y="1731645"/>
            <a:ext cx="726131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4.</a:t>
            </a:r>
          </a:p>
        </p:txBody>
      </p:sp>
      <p:sp>
        <p:nvSpPr>
          <p:cNvPr id="59" name="Espace réservé du texte 2">
            <a:extLst>
              <a:ext uri="{FF2B5EF4-FFF2-40B4-BE49-F238E27FC236}">
                <a16:creationId xmlns:a16="http://schemas.microsoft.com/office/drawing/2014/main" id="{DF86A3CF-5A25-864C-AA8F-4CDF412C2D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61498" y="301752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8.</a:t>
            </a:r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438881CC-67E1-9D48-96E4-949CCCACCF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56737" y="425899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9.</a:t>
            </a: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D6A44365-5494-A549-8FAB-73E904EF86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67750" y="1731645"/>
            <a:ext cx="726131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7.</a:t>
            </a:r>
          </a:p>
        </p:txBody>
      </p:sp>
    </p:spTree>
    <p:extLst>
      <p:ext uri="{BB962C8B-B14F-4D97-AF65-F5344CB8AC3E}">
        <p14:creationId xmlns:p14="http://schemas.microsoft.com/office/powerpoint/2010/main" val="64652176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érarc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9" name="Connecteur droit 118">
            <a:extLst>
              <a:ext uri="{FF2B5EF4-FFF2-40B4-BE49-F238E27FC236}">
                <a16:creationId xmlns:a16="http://schemas.microsoft.com/office/drawing/2014/main" id="{B5A15CEF-A1CF-5B40-A266-D24BD7F29FC6}"/>
              </a:ext>
            </a:extLst>
          </p:cNvPr>
          <p:cNvCxnSpPr>
            <a:cxnSpLocks/>
          </p:cNvCxnSpPr>
          <p:nvPr userDrawn="1"/>
        </p:nvCxnSpPr>
        <p:spPr>
          <a:xfrm flipH="1">
            <a:off x="3807319" y="3897133"/>
            <a:ext cx="223724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Connecteur droit 119">
            <a:extLst>
              <a:ext uri="{FF2B5EF4-FFF2-40B4-BE49-F238E27FC236}">
                <a16:creationId xmlns:a16="http://schemas.microsoft.com/office/drawing/2014/main" id="{718BDC8A-32C4-FA43-AA10-C3EB1BF27C1D}"/>
              </a:ext>
            </a:extLst>
          </p:cNvPr>
          <p:cNvCxnSpPr>
            <a:cxnSpLocks/>
          </p:cNvCxnSpPr>
          <p:nvPr userDrawn="1"/>
        </p:nvCxnSpPr>
        <p:spPr>
          <a:xfrm>
            <a:off x="5174043" y="3897133"/>
            <a:ext cx="267059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7FB19744-30B5-CB4E-85AA-B099FEA34C27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0634" y="3897133"/>
            <a:ext cx="223724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9F0218B-457C-714B-B93E-E85082AB31CD}"/>
              </a:ext>
            </a:extLst>
          </p:cNvPr>
          <p:cNvCxnSpPr>
            <a:cxnSpLocks/>
          </p:cNvCxnSpPr>
          <p:nvPr userDrawn="1"/>
        </p:nvCxnSpPr>
        <p:spPr>
          <a:xfrm>
            <a:off x="7787358" y="3897133"/>
            <a:ext cx="267059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bg object 16">
            <a:extLst>
              <a:ext uri="{FF2B5EF4-FFF2-40B4-BE49-F238E27FC236}">
                <a16:creationId xmlns:a16="http://schemas.microsoft.com/office/drawing/2014/main" id="{BE1D7D69-142C-8A43-A495-3ED43B1283A0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0" name="Holder 2">
            <a:extLst>
              <a:ext uri="{FF2B5EF4-FFF2-40B4-BE49-F238E27FC236}">
                <a16:creationId xmlns:a16="http://schemas.microsoft.com/office/drawing/2014/main" id="{FECD3433-65F0-3B42-9612-01BF52750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041" y="355968"/>
            <a:ext cx="8048626" cy="62324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4050" b="1" i="0">
                <a:solidFill>
                  <a:srgbClr val="00B685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B6EA9E1B-8A39-074B-A199-9F3D8750D984}"/>
              </a:ext>
            </a:extLst>
          </p:cNvPr>
          <p:cNvSpPr/>
          <p:nvPr userDrawn="1"/>
        </p:nvSpPr>
        <p:spPr>
          <a:xfrm>
            <a:off x="11275448" y="342900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6"/>
                </a:lnTo>
                <a:lnTo>
                  <a:pt x="483023" y="409199"/>
                </a:lnTo>
                <a:lnTo>
                  <a:pt x="483031" y="410937"/>
                </a:lnTo>
                <a:lnTo>
                  <a:pt x="478538" y="472829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5" y="458619"/>
                </a:lnTo>
                <a:lnTo>
                  <a:pt x="24099" y="514159"/>
                </a:lnTo>
                <a:lnTo>
                  <a:pt x="54063" y="569315"/>
                </a:lnTo>
                <a:lnTo>
                  <a:pt x="74474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3" y="475242"/>
                </a:lnTo>
                <a:lnTo>
                  <a:pt x="63376" y="443185"/>
                </a:lnTo>
                <a:lnTo>
                  <a:pt x="58671" y="410937"/>
                </a:lnTo>
                <a:lnTo>
                  <a:pt x="57124" y="379552"/>
                </a:lnTo>
                <a:lnTo>
                  <a:pt x="60457" y="333636"/>
                </a:lnTo>
                <a:lnTo>
                  <a:pt x="70230" y="289234"/>
                </a:lnTo>
                <a:lnTo>
                  <a:pt x="86102" y="246949"/>
                </a:lnTo>
                <a:lnTo>
                  <a:pt x="107732" y="207381"/>
                </a:lnTo>
                <a:lnTo>
                  <a:pt x="134780" y="171135"/>
                </a:lnTo>
                <a:lnTo>
                  <a:pt x="166906" y="138813"/>
                </a:lnTo>
                <a:lnTo>
                  <a:pt x="203769" y="111016"/>
                </a:lnTo>
                <a:lnTo>
                  <a:pt x="245028" y="88347"/>
                </a:lnTo>
                <a:lnTo>
                  <a:pt x="290344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2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2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1" y="379552"/>
                </a:lnTo>
                <a:lnTo>
                  <a:pt x="125508" y="390389"/>
                </a:lnTo>
                <a:lnTo>
                  <a:pt x="132759" y="398167"/>
                </a:lnTo>
                <a:lnTo>
                  <a:pt x="142496" y="402501"/>
                </a:lnTo>
                <a:lnTo>
                  <a:pt x="154050" y="403009"/>
                </a:lnTo>
                <a:lnTo>
                  <a:pt x="164308" y="398738"/>
                </a:lnTo>
                <a:lnTo>
                  <a:pt x="171788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2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4" name="Espace réservé du texte 48">
            <a:extLst>
              <a:ext uri="{FF2B5EF4-FFF2-40B4-BE49-F238E27FC236}">
                <a16:creationId xmlns:a16="http://schemas.microsoft.com/office/drawing/2014/main" id="{E0366AB2-5A1B-124D-99F9-B1D08170E7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800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F1392F8C-AF51-C74B-A1C8-E5389F84CA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marL="8573" algn="r">
              <a:lnSpc>
                <a:spcPct val="100000"/>
              </a:lnSpc>
              <a:spcBef>
                <a:spcPts val="68"/>
              </a:spcBef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98" name="Rectangle : coins arrondis 97">
            <a:extLst>
              <a:ext uri="{FF2B5EF4-FFF2-40B4-BE49-F238E27FC236}">
                <a16:creationId xmlns:a16="http://schemas.microsoft.com/office/drawing/2014/main" id="{E0B27B9F-0D42-6A45-9BD4-8E0773D1BA4C}"/>
              </a:ext>
            </a:extLst>
          </p:cNvPr>
          <p:cNvSpPr/>
          <p:nvPr userDrawn="1"/>
        </p:nvSpPr>
        <p:spPr>
          <a:xfrm>
            <a:off x="7338989" y="4192888"/>
            <a:ext cx="2469356" cy="6562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0F489399-8922-1E49-BA2C-0956896D5F27}"/>
              </a:ext>
            </a:extLst>
          </p:cNvPr>
          <p:cNvSpPr/>
          <p:nvPr userDrawn="1"/>
        </p:nvSpPr>
        <p:spPr>
          <a:xfrm>
            <a:off x="4705189" y="4192888"/>
            <a:ext cx="2469356" cy="656286"/>
          </a:xfrm>
          <a:prstGeom prst="roundRect">
            <a:avLst/>
          </a:prstGeom>
          <a:solidFill>
            <a:srgbClr val="FF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9709F812-F85D-0F4F-BF47-31871AB47FD2}"/>
              </a:ext>
            </a:extLst>
          </p:cNvPr>
          <p:cNvSpPr/>
          <p:nvPr userDrawn="1"/>
        </p:nvSpPr>
        <p:spPr>
          <a:xfrm>
            <a:off x="2071388" y="4192888"/>
            <a:ext cx="2469356" cy="656286"/>
          </a:xfrm>
          <a:prstGeom prst="roundRect">
            <a:avLst/>
          </a:prstGeom>
          <a:solidFill>
            <a:srgbClr val="00B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101" name="Espace réservé du texte 3">
            <a:extLst>
              <a:ext uri="{FF2B5EF4-FFF2-40B4-BE49-F238E27FC236}">
                <a16:creationId xmlns:a16="http://schemas.microsoft.com/office/drawing/2014/main" id="{7406CB6C-8891-FF48-8C37-13483A124F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891144" y="4354830"/>
            <a:ext cx="2038964" cy="332399"/>
          </a:xfrm>
        </p:spPr>
        <p:txBody>
          <a:bodyPr/>
          <a:lstStyle>
            <a:lvl1pPr algn="ctr">
              <a:defRPr sz="1080" b="1"/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02" name="Espace réservé du texte 3">
            <a:extLst>
              <a:ext uri="{FF2B5EF4-FFF2-40B4-BE49-F238E27FC236}">
                <a16:creationId xmlns:a16="http://schemas.microsoft.com/office/drawing/2014/main" id="{745A8AB8-133A-8149-94AF-243E3939162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86583" y="4354830"/>
            <a:ext cx="2038964" cy="332399"/>
          </a:xfrm>
        </p:spPr>
        <p:txBody>
          <a:bodyPr/>
          <a:lstStyle>
            <a:lvl1pPr algn="ctr">
              <a:defRPr sz="108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03" name="Espace réservé du texte 3">
            <a:extLst>
              <a:ext uri="{FF2B5EF4-FFF2-40B4-BE49-F238E27FC236}">
                <a16:creationId xmlns:a16="http://schemas.microsoft.com/office/drawing/2014/main" id="{18C8D45B-2462-0947-906E-63C6130B775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554184" y="4354830"/>
            <a:ext cx="2038964" cy="332399"/>
          </a:xfrm>
        </p:spPr>
        <p:txBody>
          <a:bodyPr/>
          <a:lstStyle>
            <a:lvl1pPr algn="ctr">
              <a:defRPr sz="108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0F392F19-2757-9745-92B7-4F9E31342169}"/>
              </a:ext>
            </a:extLst>
          </p:cNvPr>
          <p:cNvSpPr/>
          <p:nvPr userDrawn="1"/>
        </p:nvSpPr>
        <p:spPr>
          <a:xfrm>
            <a:off x="5981385" y="3240848"/>
            <a:ext cx="2469356" cy="656286"/>
          </a:xfrm>
          <a:prstGeom prst="roundRect">
            <a:avLst/>
          </a:prstGeom>
          <a:solidFill>
            <a:srgbClr val="1C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C11EAA53-1920-DA44-A3D5-386E102913C0}"/>
              </a:ext>
            </a:extLst>
          </p:cNvPr>
          <p:cNvSpPr/>
          <p:nvPr userDrawn="1"/>
        </p:nvSpPr>
        <p:spPr>
          <a:xfrm>
            <a:off x="3338466" y="3240848"/>
            <a:ext cx="2469356" cy="656286"/>
          </a:xfrm>
          <a:prstGeom prst="roundRect">
            <a:avLst/>
          </a:prstGeom>
          <a:solidFill>
            <a:srgbClr val="00C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106" name="Espace réservé du texte 3">
            <a:extLst>
              <a:ext uri="{FF2B5EF4-FFF2-40B4-BE49-F238E27FC236}">
                <a16:creationId xmlns:a16="http://schemas.microsoft.com/office/drawing/2014/main" id="{E7708190-38D7-EA41-B616-8EB48B2FACD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33539" y="3402791"/>
            <a:ext cx="2038964" cy="332399"/>
          </a:xfrm>
        </p:spPr>
        <p:txBody>
          <a:bodyPr/>
          <a:lstStyle>
            <a:lvl1pPr algn="ctr">
              <a:defRPr sz="108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07" name="Espace réservé du texte 3">
            <a:extLst>
              <a:ext uri="{FF2B5EF4-FFF2-40B4-BE49-F238E27FC236}">
                <a16:creationId xmlns:a16="http://schemas.microsoft.com/office/drawing/2014/main" id="{889CA702-57DA-D04C-8F3B-8538FF2703D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96580" y="3402791"/>
            <a:ext cx="2038964" cy="332399"/>
          </a:xfrm>
        </p:spPr>
        <p:txBody>
          <a:bodyPr/>
          <a:lstStyle>
            <a:lvl1pPr algn="ctr">
              <a:defRPr sz="108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ECDB916-E8C2-A64A-8E19-629E76AF0C39}"/>
              </a:ext>
            </a:extLst>
          </p:cNvPr>
          <p:cNvSpPr/>
          <p:nvPr userDrawn="1"/>
        </p:nvSpPr>
        <p:spPr>
          <a:xfrm>
            <a:off x="4540744" y="2283595"/>
            <a:ext cx="2469356" cy="656286"/>
          </a:xfrm>
          <a:prstGeom prst="roundRect">
            <a:avLst/>
          </a:prstGeom>
          <a:solidFill>
            <a:srgbClr val="00B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/>
          </a:p>
        </p:txBody>
      </p:sp>
      <p:sp>
        <p:nvSpPr>
          <p:cNvPr id="114" name="Espace réservé du texte 3">
            <a:extLst>
              <a:ext uri="{FF2B5EF4-FFF2-40B4-BE49-F238E27FC236}">
                <a16:creationId xmlns:a16="http://schemas.microsoft.com/office/drawing/2014/main" id="{06541F6E-E1C0-6C4E-B3A9-4CB05589726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755940" y="2445537"/>
            <a:ext cx="2038964" cy="332399"/>
          </a:xfrm>
        </p:spPr>
        <p:txBody>
          <a:bodyPr/>
          <a:lstStyle>
            <a:lvl1pPr algn="ctr">
              <a:defRPr sz="108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</a:t>
            </a:r>
          </a:p>
          <a:p>
            <a:pPr lvl="0"/>
            <a:r>
              <a:rPr lang="fr-FR"/>
              <a:t>le texte du</a:t>
            </a:r>
          </a:p>
        </p:txBody>
      </p:sp>
      <p:cxnSp>
        <p:nvCxnSpPr>
          <p:cNvPr id="121" name="Connecteur droit 120">
            <a:extLst>
              <a:ext uri="{FF2B5EF4-FFF2-40B4-BE49-F238E27FC236}">
                <a16:creationId xmlns:a16="http://schemas.microsoft.com/office/drawing/2014/main" id="{9FAA8D52-5A20-A24F-920E-982BF756A3D7}"/>
              </a:ext>
            </a:extLst>
          </p:cNvPr>
          <p:cNvCxnSpPr>
            <a:cxnSpLocks/>
          </p:cNvCxnSpPr>
          <p:nvPr userDrawn="1"/>
        </p:nvCxnSpPr>
        <p:spPr>
          <a:xfrm flipH="1">
            <a:off x="4991884" y="2949382"/>
            <a:ext cx="223724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Connecteur droit 121">
            <a:extLst>
              <a:ext uri="{FF2B5EF4-FFF2-40B4-BE49-F238E27FC236}">
                <a16:creationId xmlns:a16="http://schemas.microsoft.com/office/drawing/2014/main" id="{982B54F5-1BF1-DD4F-8DE7-E6EF89833FB0}"/>
              </a:ext>
            </a:extLst>
          </p:cNvPr>
          <p:cNvCxnSpPr>
            <a:cxnSpLocks/>
          </p:cNvCxnSpPr>
          <p:nvPr userDrawn="1"/>
        </p:nvCxnSpPr>
        <p:spPr>
          <a:xfrm>
            <a:off x="6358608" y="2949382"/>
            <a:ext cx="267059" cy="3009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5E3B736D-D7A9-4622-A1CB-AA222BD5C90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9214782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-4286"/>
            <a:ext cx="60635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342900"/>
            <a:ext cx="5305425" cy="934871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6075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DC1CC5EB-3124-0642-B63B-91D948721538}"/>
              </a:ext>
            </a:extLst>
          </p:cNvPr>
          <p:cNvSpPr/>
          <p:nvPr userDrawn="1"/>
        </p:nvSpPr>
        <p:spPr>
          <a:xfrm>
            <a:off x="333375" y="3994785"/>
            <a:ext cx="47625" cy="622243"/>
          </a:xfrm>
          <a:custGeom>
            <a:avLst/>
            <a:gdLst/>
            <a:ahLst/>
            <a:cxnLst/>
            <a:rect l="l" t="t" r="r" b="b"/>
            <a:pathLst>
              <a:path w="88900" h="1572259">
                <a:moveTo>
                  <a:pt x="44450" y="0"/>
                </a:moveTo>
                <a:lnTo>
                  <a:pt x="27148" y="3901"/>
                </a:lnTo>
                <a:lnTo>
                  <a:pt x="13019" y="13800"/>
                </a:lnTo>
                <a:lnTo>
                  <a:pt x="3493" y="26987"/>
                </a:lnTo>
                <a:lnTo>
                  <a:pt x="0" y="40754"/>
                </a:lnTo>
                <a:lnTo>
                  <a:pt x="0" y="1531480"/>
                </a:lnTo>
                <a:lnTo>
                  <a:pt x="3493" y="1545247"/>
                </a:lnTo>
                <a:lnTo>
                  <a:pt x="13019" y="1558434"/>
                </a:lnTo>
                <a:lnTo>
                  <a:pt x="27148" y="1568333"/>
                </a:lnTo>
                <a:lnTo>
                  <a:pt x="44450" y="1572234"/>
                </a:lnTo>
                <a:lnTo>
                  <a:pt x="61751" y="1568333"/>
                </a:lnTo>
                <a:lnTo>
                  <a:pt x="75880" y="1558434"/>
                </a:lnTo>
                <a:lnTo>
                  <a:pt x="85406" y="1545247"/>
                </a:lnTo>
                <a:lnTo>
                  <a:pt x="88900" y="1531480"/>
                </a:lnTo>
                <a:lnTo>
                  <a:pt x="88900" y="40754"/>
                </a:lnTo>
                <a:lnTo>
                  <a:pt x="85406" y="26987"/>
                </a:lnTo>
                <a:lnTo>
                  <a:pt x="75880" y="13800"/>
                </a:lnTo>
                <a:lnTo>
                  <a:pt x="61751" y="3901"/>
                </a:lnTo>
                <a:lnTo>
                  <a:pt x="44450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ACA2EDB-CBE6-D644-B8DF-DB6E7A0A40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741" y="4046220"/>
            <a:ext cx="5047059" cy="519373"/>
          </a:xfrm>
        </p:spPr>
        <p:txBody>
          <a:bodyPr/>
          <a:lstStyle>
            <a:lvl1pPr>
              <a:lnSpc>
                <a:spcPct val="100000"/>
              </a:lnSpc>
              <a:defRPr sz="1688" b="1">
                <a:solidFill>
                  <a:schemeClr val="bg1"/>
                </a:solidFill>
                <a:latin typeface="Montserrat" pitchFamily="2" charset="77"/>
              </a:defRPr>
            </a:lvl1pPr>
            <a:lvl2pPr>
              <a:lnSpc>
                <a:spcPct val="150000"/>
              </a:lnSpc>
              <a:defRPr sz="2025" b="1">
                <a:latin typeface="Montserrat" pitchFamily="2" charset="77"/>
              </a:defRPr>
            </a:lvl2pPr>
            <a:lvl3pPr>
              <a:lnSpc>
                <a:spcPct val="150000"/>
              </a:lnSpc>
              <a:defRPr sz="2025" b="1">
                <a:latin typeface="Montserrat" pitchFamily="2" charset="77"/>
              </a:defRPr>
            </a:lvl3pPr>
            <a:lvl4pPr>
              <a:lnSpc>
                <a:spcPct val="150000"/>
              </a:lnSpc>
              <a:defRPr sz="2025" b="1">
                <a:latin typeface="Montserrat" pitchFamily="2" charset="77"/>
              </a:defRPr>
            </a:lvl4pPr>
            <a:lvl5pPr>
              <a:lnSpc>
                <a:spcPct val="150000"/>
              </a:lnSpc>
              <a:defRPr sz="2025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</a:t>
            </a:r>
          </a:p>
          <a:p>
            <a:pPr lvl="0"/>
            <a:r>
              <a:rPr lang="fr-FR"/>
              <a:t>sur 2 lignes maximum</a:t>
            </a: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CCBE606C-56DA-AD48-8404-73EA16AD17C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3" name="object 7">
            <a:extLst>
              <a:ext uri="{FF2B5EF4-FFF2-40B4-BE49-F238E27FC236}">
                <a16:creationId xmlns:a16="http://schemas.microsoft.com/office/drawing/2014/main" id="{B6552ADC-D928-F044-B6AA-410C1BEF699C}"/>
              </a:ext>
            </a:extLst>
          </p:cNvPr>
          <p:cNvSpPr/>
          <p:nvPr userDrawn="1"/>
        </p:nvSpPr>
        <p:spPr>
          <a:xfrm>
            <a:off x="1433036" y="4959191"/>
            <a:ext cx="3908584" cy="1894523"/>
          </a:xfrm>
          <a:custGeom>
            <a:avLst/>
            <a:gdLst/>
            <a:ahLst/>
            <a:cxnLst/>
            <a:rect l="l" t="t" r="r" b="b"/>
            <a:pathLst>
              <a:path w="5211445" h="2806700">
                <a:moveTo>
                  <a:pt x="2491429" y="901700"/>
                </a:moveTo>
                <a:lnTo>
                  <a:pt x="2196897" y="901700"/>
                </a:lnTo>
                <a:lnTo>
                  <a:pt x="2147756" y="914400"/>
                </a:lnTo>
                <a:lnTo>
                  <a:pt x="2098616" y="914400"/>
                </a:lnTo>
                <a:lnTo>
                  <a:pt x="2049502" y="927100"/>
                </a:lnTo>
                <a:lnTo>
                  <a:pt x="2000438" y="927100"/>
                </a:lnTo>
                <a:lnTo>
                  <a:pt x="1565282" y="1041400"/>
                </a:lnTo>
                <a:lnTo>
                  <a:pt x="1518104" y="1066800"/>
                </a:lnTo>
                <a:lnTo>
                  <a:pt x="1424755" y="1092200"/>
                </a:lnTo>
                <a:lnTo>
                  <a:pt x="1332913" y="1143000"/>
                </a:lnTo>
                <a:lnTo>
                  <a:pt x="1287620" y="1155700"/>
                </a:lnTo>
                <a:lnTo>
                  <a:pt x="1154554" y="1231900"/>
                </a:lnTo>
                <a:lnTo>
                  <a:pt x="1111220" y="1244600"/>
                </a:lnTo>
                <a:lnTo>
                  <a:pt x="1026235" y="1295400"/>
                </a:lnTo>
                <a:lnTo>
                  <a:pt x="984634" y="1333500"/>
                </a:lnTo>
                <a:lnTo>
                  <a:pt x="943661" y="1358900"/>
                </a:lnTo>
                <a:lnTo>
                  <a:pt x="903341" y="1384300"/>
                </a:lnTo>
                <a:lnTo>
                  <a:pt x="863699" y="1409700"/>
                </a:lnTo>
                <a:lnTo>
                  <a:pt x="824759" y="1435100"/>
                </a:lnTo>
                <a:lnTo>
                  <a:pt x="786549" y="1473200"/>
                </a:lnTo>
                <a:lnTo>
                  <a:pt x="749091" y="1498600"/>
                </a:lnTo>
                <a:lnTo>
                  <a:pt x="712412" y="1536700"/>
                </a:lnTo>
                <a:lnTo>
                  <a:pt x="676536" y="1562100"/>
                </a:lnTo>
                <a:lnTo>
                  <a:pt x="641488" y="1600200"/>
                </a:lnTo>
                <a:lnTo>
                  <a:pt x="607295" y="1625600"/>
                </a:lnTo>
                <a:lnTo>
                  <a:pt x="573980" y="1663700"/>
                </a:lnTo>
                <a:lnTo>
                  <a:pt x="541569" y="1689100"/>
                </a:lnTo>
                <a:lnTo>
                  <a:pt x="510087" y="1727200"/>
                </a:lnTo>
                <a:lnTo>
                  <a:pt x="479559" y="1765300"/>
                </a:lnTo>
                <a:lnTo>
                  <a:pt x="450010" y="1803400"/>
                </a:lnTo>
                <a:lnTo>
                  <a:pt x="421465" y="1841500"/>
                </a:lnTo>
                <a:lnTo>
                  <a:pt x="393950" y="1866900"/>
                </a:lnTo>
                <a:lnTo>
                  <a:pt x="367489" y="1905000"/>
                </a:lnTo>
                <a:lnTo>
                  <a:pt x="342108" y="1943100"/>
                </a:lnTo>
                <a:lnTo>
                  <a:pt x="317831" y="1981200"/>
                </a:lnTo>
                <a:lnTo>
                  <a:pt x="293834" y="2019300"/>
                </a:lnTo>
                <a:lnTo>
                  <a:pt x="270660" y="2057400"/>
                </a:lnTo>
                <a:lnTo>
                  <a:pt x="248308" y="2108200"/>
                </a:lnTo>
                <a:lnTo>
                  <a:pt x="226773" y="2146300"/>
                </a:lnTo>
                <a:lnTo>
                  <a:pt x="206054" y="2184400"/>
                </a:lnTo>
                <a:lnTo>
                  <a:pt x="186147" y="2222500"/>
                </a:lnTo>
                <a:lnTo>
                  <a:pt x="167050" y="2273300"/>
                </a:lnTo>
                <a:lnTo>
                  <a:pt x="148760" y="2311400"/>
                </a:lnTo>
                <a:lnTo>
                  <a:pt x="131273" y="2349500"/>
                </a:lnTo>
                <a:lnTo>
                  <a:pt x="114588" y="2400300"/>
                </a:lnTo>
                <a:lnTo>
                  <a:pt x="98701" y="2438400"/>
                </a:lnTo>
                <a:lnTo>
                  <a:pt x="83609" y="2489200"/>
                </a:lnTo>
                <a:lnTo>
                  <a:pt x="69310" y="2527300"/>
                </a:lnTo>
                <a:lnTo>
                  <a:pt x="55800" y="2578100"/>
                </a:lnTo>
                <a:lnTo>
                  <a:pt x="43078" y="2616200"/>
                </a:lnTo>
                <a:lnTo>
                  <a:pt x="31139" y="2667000"/>
                </a:lnTo>
                <a:lnTo>
                  <a:pt x="19982" y="2717800"/>
                </a:lnTo>
                <a:lnTo>
                  <a:pt x="9603" y="2755900"/>
                </a:lnTo>
                <a:lnTo>
                  <a:pt x="0" y="2806700"/>
                </a:lnTo>
                <a:lnTo>
                  <a:pt x="443718" y="2806700"/>
                </a:lnTo>
                <a:lnTo>
                  <a:pt x="454973" y="2768600"/>
                </a:lnTo>
                <a:lnTo>
                  <a:pt x="467151" y="2717800"/>
                </a:lnTo>
                <a:lnTo>
                  <a:pt x="480255" y="2679700"/>
                </a:lnTo>
                <a:lnTo>
                  <a:pt x="494290" y="2628900"/>
                </a:lnTo>
                <a:lnTo>
                  <a:pt x="509259" y="2590800"/>
                </a:lnTo>
                <a:lnTo>
                  <a:pt x="525168" y="2540000"/>
                </a:lnTo>
                <a:lnTo>
                  <a:pt x="542021" y="2501900"/>
                </a:lnTo>
                <a:lnTo>
                  <a:pt x="559820" y="2451100"/>
                </a:lnTo>
                <a:lnTo>
                  <a:pt x="578572" y="2413000"/>
                </a:lnTo>
                <a:lnTo>
                  <a:pt x="598280" y="2374900"/>
                </a:lnTo>
                <a:lnTo>
                  <a:pt x="618947" y="2336800"/>
                </a:lnTo>
                <a:lnTo>
                  <a:pt x="640579" y="2298700"/>
                </a:lnTo>
                <a:lnTo>
                  <a:pt x="663180" y="2247900"/>
                </a:lnTo>
                <a:lnTo>
                  <a:pt x="686753" y="2209800"/>
                </a:lnTo>
                <a:lnTo>
                  <a:pt x="710481" y="2171700"/>
                </a:lnTo>
                <a:lnTo>
                  <a:pt x="735622" y="2146300"/>
                </a:lnTo>
                <a:lnTo>
                  <a:pt x="762137" y="2108200"/>
                </a:lnTo>
                <a:lnTo>
                  <a:pt x="789985" y="2070100"/>
                </a:lnTo>
                <a:lnTo>
                  <a:pt x="819124" y="2032000"/>
                </a:lnTo>
                <a:lnTo>
                  <a:pt x="849513" y="2006600"/>
                </a:lnTo>
                <a:lnTo>
                  <a:pt x="881114" y="1968500"/>
                </a:lnTo>
                <a:lnTo>
                  <a:pt x="913883" y="1930400"/>
                </a:lnTo>
                <a:lnTo>
                  <a:pt x="947781" y="1905000"/>
                </a:lnTo>
                <a:lnTo>
                  <a:pt x="982767" y="1866900"/>
                </a:lnTo>
                <a:lnTo>
                  <a:pt x="1018800" y="1841500"/>
                </a:lnTo>
                <a:lnTo>
                  <a:pt x="1055839" y="1816100"/>
                </a:lnTo>
                <a:lnTo>
                  <a:pt x="1093843" y="1778000"/>
                </a:lnTo>
                <a:lnTo>
                  <a:pt x="1132773" y="1752600"/>
                </a:lnTo>
                <a:lnTo>
                  <a:pt x="1172586" y="1727200"/>
                </a:lnTo>
                <a:lnTo>
                  <a:pt x="1213242" y="1701800"/>
                </a:lnTo>
                <a:lnTo>
                  <a:pt x="1254701" y="1676400"/>
                </a:lnTo>
                <a:lnTo>
                  <a:pt x="1296921" y="1651000"/>
                </a:lnTo>
                <a:lnTo>
                  <a:pt x="1383484" y="1600200"/>
                </a:lnTo>
                <a:lnTo>
                  <a:pt x="1472603" y="1549400"/>
                </a:lnTo>
                <a:lnTo>
                  <a:pt x="1518020" y="1536700"/>
                </a:lnTo>
                <a:lnTo>
                  <a:pt x="1610364" y="1485900"/>
                </a:lnTo>
                <a:lnTo>
                  <a:pt x="1704449" y="1460500"/>
                </a:lnTo>
                <a:lnTo>
                  <a:pt x="1752042" y="1435100"/>
                </a:lnTo>
                <a:lnTo>
                  <a:pt x="2042752" y="1358900"/>
                </a:lnTo>
                <a:lnTo>
                  <a:pt x="2091681" y="1358900"/>
                </a:lnTo>
                <a:lnTo>
                  <a:pt x="2140637" y="1346200"/>
                </a:lnTo>
                <a:lnTo>
                  <a:pt x="2189581" y="1346200"/>
                </a:lnTo>
                <a:lnTo>
                  <a:pt x="2238470" y="1333500"/>
                </a:lnTo>
                <a:lnTo>
                  <a:pt x="2437296" y="1333500"/>
                </a:lnTo>
                <a:lnTo>
                  <a:pt x="2486326" y="1320800"/>
                </a:lnTo>
                <a:lnTo>
                  <a:pt x="2531490" y="1308100"/>
                </a:lnTo>
                <a:lnTo>
                  <a:pt x="2571506" y="1282700"/>
                </a:lnTo>
                <a:lnTo>
                  <a:pt x="2605093" y="1257300"/>
                </a:lnTo>
                <a:lnTo>
                  <a:pt x="2630972" y="1219200"/>
                </a:lnTo>
                <a:lnTo>
                  <a:pt x="2647861" y="1168400"/>
                </a:lnTo>
                <a:lnTo>
                  <a:pt x="2654479" y="1117600"/>
                </a:lnTo>
                <a:lnTo>
                  <a:pt x="2649779" y="1066800"/>
                </a:lnTo>
                <a:lnTo>
                  <a:pt x="2634386" y="1028700"/>
                </a:lnTo>
                <a:lnTo>
                  <a:pt x="2609578" y="977900"/>
                </a:lnTo>
                <a:lnTo>
                  <a:pt x="2576632" y="952500"/>
                </a:lnTo>
                <a:lnTo>
                  <a:pt x="2536823" y="927100"/>
                </a:lnTo>
                <a:lnTo>
                  <a:pt x="2491429" y="901700"/>
                </a:lnTo>
                <a:close/>
              </a:path>
              <a:path w="5211445" h="2806700">
                <a:moveTo>
                  <a:pt x="2854019" y="0"/>
                </a:moveTo>
                <a:lnTo>
                  <a:pt x="2760244" y="25400"/>
                </a:lnTo>
                <a:lnTo>
                  <a:pt x="2717211" y="38100"/>
                </a:lnTo>
                <a:lnTo>
                  <a:pt x="2679206" y="76200"/>
                </a:lnTo>
                <a:lnTo>
                  <a:pt x="2649644" y="114300"/>
                </a:lnTo>
                <a:lnTo>
                  <a:pt x="2630653" y="165100"/>
                </a:lnTo>
                <a:lnTo>
                  <a:pt x="2622159" y="203200"/>
                </a:lnTo>
                <a:lnTo>
                  <a:pt x="2624087" y="254000"/>
                </a:lnTo>
                <a:lnTo>
                  <a:pt x="2636362" y="304800"/>
                </a:lnTo>
                <a:lnTo>
                  <a:pt x="2658908" y="342900"/>
                </a:lnTo>
                <a:lnTo>
                  <a:pt x="2691652" y="381000"/>
                </a:lnTo>
                <a:lnTo>
                  <a:pt x="2727289" y="419100"/>
                </a:lnTo>
                <a:lnTo>
                  <a:pt x="2762041" y="457200"/>
                </a:lnTo>
                <a:lnTo>
                  <a:pt x="2795975" y="482600"/>
                </a:lnTo>
                <a:lnTo>
                  <a:pt x="2829158" y="520700"/>
                </a:lnTo>
                <a:lnTo>
                  <a:pt x="2861658" y="558800"/>
                </a:lnTo>
                <a:lnTo>
                  <a:pt x="2893542" y="596900"/>
                </a:lnTo>
                <a:lnTo>
                  <a:pt x="2924877" y="635000"/>
                </a:lnTo>
                <a:lnTo>
                  <a:pt x="2955731" y="685800"/>
                </a:lnTo>
                <a:lnTo>
                  <a:pt x="2986172" y="723900"/>
                </a:lnTo>
                <a:lnTo>
                  <a:pt x="3016267" y="762000"/>
                </a:lnTo>
                <a:lnTo>
                  <a:pt x="3046083" y="800100"/>
                </a:lnTo>
                <a:lnTo>
                  <a:pt x="3075688" y="850900"/>
                </a:lnTo>
                <a:lnTo>
                  <a:pt x="3105149" y="889000"/>
                </a:lnTo>
                <a:lnTo>
                  <a:pt x="3134534" y="939800"/>
                </a:lnTo>
                <a:lnTo>
                  <a:pt x="3163910" y="977900"/>
                </a:lnTo>
                <a:lnTo>
                  <a:pt x="3193344" y="1028700"/>
                </a:lnTo>
                <a:lnTo>
                  <a:pt x="3250657" y="1117600"/>
                </a:lnTo>
                <a:lnTo>
                  <a:pt x="3278648" y="1155700"/>
                </a:lnTo>
                <a:lnTo>
                  <a:pt x="3306901" y="1206500"/>
                </a:lnTo>
                <a:lnTo>
                  <a:pt x="3335441" y="1244600"/>
                </a:lnTo>
                <a:lnTo>
                  <a:pt x="3364295" y="1282700"/>
                </a:lnTo>
                <a:lnTo>
                  <a:pt x="3393485" y="1333500"/>
                </a:lnTo>
                <a:lnTo>
                  <a:pt x="3423038" y="1371600"/>
                </a:lnTo>
                <a:lnTo>
                  <a:pt x="3452978" y="1409700"/>
                </a:lnTo>
                <a:lnTo>
                  <a:pt x="3411577" y="1447800"/>
                </a:lnTo>
                <a:lnTo>
                  <a:pt x="3243883" y="1549400"/>
                </a:lnTo>
                <a:lnTo>
                  <a:pt x="3201516" y="1587500"/>
                </a:lnTo>
                <a:lnTo>
                  <a:pt x="2858639" y="1790700"/>
                </a:lnTo>
                <a:lnTo>
                  <a:pt x="2815523" y="1828800"/>
                </a:lnTo>
                <a:lnTo>
                  <a:pt x="2557273" y="1981200"/>
                </a:lnTo>
                <a:lnTo>
                  <a:pt x="2426206" y="2057400"/>
                </a:lnTo>
                <a:lnTo>
                  <a:pt x="2335201" y="2108200"/>
                </a:lnTo>
                <a:lnTo>
                  <a:pt x="2289749" y="2146300"/>
                </a:lnTo>
                <a:lnTo>
                  <a:pt x="2244345" y="2171700"/>
                </a:lnTo>
                <a:lnTo>
                  <a:pt x="2204671" y="2197100"/>
                </a:lnTo>
                <a:lnTo>
                  <a:pt x="2173986" y="2235200"/>
                </a:lnTo>
                <a:lnTo>
                  <a:pt x="2152731" y="2273300"/>
                </a:lnTo>
                <a:lnTo>
                  <a:pt x="2141346" y="2324100"/>
                </a:lnTo>
                <a:lnTo>
                  <a:pt x="2140273" y="2374900"/>
                </a:lnTo>
                <a:lnTo>
                  <a:pt x="2149952" y="2425700"/>
                </a:lnTo>
                <a:lnTo>
                  <a:pt x="2170825" y="2463800"/>
                </a:lnTo>
                <a:lnTo>
                  <a:pt x="2198813" y="2501900"/>
                </a:lnTo>
                <a:lnTo>
                  <a:pt x="2232822" y="2527300"/>
                </a:lnTo>
                <a:lnTo>
                  <a:pt x="2271454" y="2552700"/>
                </a:lnTo>
                <a:lnTo>
                  <a:pt x="2313314" y="2565400"/>
                </a:lnTo>
                <a:lnTo>
                  <a:pt x="2414304" y="2565400"/>
                </a:lnTo>
                <a:lnTo>
                  <a:pt x="2442265" y="2552700"/>
                </a:lnTo>
                <a:lnTo>
                  <a:pt x="2469249" y="2540000"/>
                </a:lnTo>
                <a:lnTo>
                  <a:pt x="2604904" y="2463800"/>
                </a:lnTo>
                <a:lnTo>
                  <a:pt x="2739060" y="2374900"/>
                </a:lnTo>
                <a:lnTo>
                  <a:pt x="3046397" y="2197100"/>
                </a:lnTo>
                <a:lnTo>
                  <a:pt x="3090474" y="2159000"/>
                </a:lnTo>
                <a:lnTo>
                  <a:pt x="3310627" y="2032000"/>
                </a:lnTo>
                <a:lnTo>
                  <a:pt x="3354517" y="1993900"/>
                </a:lnTo>
                <a:lnTo>
                  <a:pt x="3529164" y="1892300"/>
                </a:lnTo>
                <a:lnTo>
                  <a:pt x="3572529" y="1854200"/>
                </a:lnTo>
                <a:lnTo>
                  <a:pt x="3658811" y="1803400"/>
                </a:lnTo>
                <a:lnTo>
                  <a:pt x="3701701" y="1765300"/>
                </a:lnTo>
                <a:lnTo>
                  <a:pt x="3744405" y="1739900"/>
                </a:lnTo>
                <a:lnTo>
                  <a:pt x="3783232" y="1714500"/>
                </a:lnTo>
                <a:lnTo>
                  <a:pt x="3817168" y="1676400"/>
                </a:lnTo>
                <a:lnTo>
                  <a:pt x="3845932" y="1638300"/>
                </a:lnTo>
                <a:lnTo>
                  <a:pt x="3869246" y="1587500"/>
                </a:lnTo>
                <a:lnTo>
                  <a:pt x="3886831" y="1549400"/>
                </a:lnTo>
                <a:lnTo>
                  <a:pt x="3898406" y="1498600"/>
                </a:lnTo>
                <a:lnTo>
                  <a:pt x="3903699" y="1435100"/>
                </a:lnTo>
                <a:lnTo>
                  <a:pt x="3901847" y="1384300"/>
                </a:lnTo>
                <a:lnTo>
                  <a:pt x="3893038" y="1333500"/>
                </a:lnTo>
                <a:lnTo>
                  <a:pt x="3877459" y="1282700"/>
                </a:lnTo>
                <a:lnTo>
                  <a:pt x="3855297" y="1231900"/>
                </a:lnTo>
                <a:lnTo>
                  <a:pt x="3826739" y="1193800"/>
                </a:lnTo>
                <a:lnTo>
                  <a:pt x="3796271" y="1143000"/>
                </a:lnTo>
                <a:lnTo>
                  <a:pt x="3766178" y="1104900"/>
                </a:lnTo>
                <a:lnTo>
                  <a:pt x="3736348" y="1066800"/>
                </a:lnTo>
                <a:lnTo>
                  <a:pt x="3706666" y="1016000"/>
                </a:lnTo>
                <a:lnTo>
                  <a:pt x="3677019" y="977900"/>
                </a:lnTo>
                <a:lnTo>
                  <a:pt x="3647294" y="927100"/>
                </a:lnTo>
                <a:lnTo>
                  <a:pt x="3617377" y="876300"/>
                </a:lnTo>
                <a:lnTo>
                  <a:pt x="3559437" y="787400"/>
                </a:lnTo>
                <a:lnTo>
                  <a:pt x="3503506" y="711200"/>
                </a:lnTo>
                <a:lnTo>
                  <a:pt x="3475190" y="660400"/>
                </a:lnTo>
                <a:lnTo>
                  <a:pt x="3446574" y="622300"/>
                </a:lnTo>
                <a:lnTo>
                  <a:pt x="3417608" y="584200"/>
                </a:lnTo>
                <a:lnTo>
                  <a:pt x="3388241" y="533400"/>
                </a:lnTo>
                <a:lnTo>
                  <a:pt x="3358424" y="495300"/>
                </a:lnTo>
                <a:lnTo>
                  <a:pt x="3328105" y="457200"/>
                </a:lnTo>
                <a:lnTo>
                  <a:pt x="3297235" y="406400"/>
                </a:lnTo>
                <a:lnTo>
                  <a:pt x="3265763" y="368300"/>
                </a:lnTo>
                <a:lnTo>
                  <a:pt x="3233640" y="330200"/>
                </a:lnTo>
                <a:lnTo>
                  <a:pt x="3200814" y="292100"/>
                </a:lnTo>
                <a:lnTo>
                  <a:pt x="3167236" y="254000"/>
                </a:lnTo>
                <a:lnTo>
                  <a:pt x="3132856" y="215900"/>
                </a:lnTo>
                <a:lnTo>
                  <a:pt x="3097623" y="177800"/>
                </a:lnTo>
                <a:lnTo>
                  <a:pt x="3061486" y="139700"/>
                </a:lnTo>
                <a:lnTo>
                  <a:pt x="3024397" y="101600"/>
                </a:lnTo>
                <a:lnTo>
                  <a:pt x="2986304" y="63500"/>
                </a:lnTo>
                <a:lnTo>
                  <a:pt x="2945784" y="38100"/>
                </a:lnTo>
                <a:lnTo>
                  <a:pt x="2901074" y="12700"/>
                </a:lnTo>
                <a:lnTo>
                  <a:pt x="2854019" y="0"/>
                </a:lnTo>
                <a:close/>
              </a:path>
              <a:path w="5211445" h="2806700">
                <a:moveTo>
                  <a:pt x="4473773" y="1767867"/>
                </a:moveTo>
                <a:lnTo>
                  <a:pt x="4427273" y="1774062"/>
                </a:lnTo>
                <a:lnTo>
                  <a:pt x="4381844" y="1790799"/>
                </a:lnTo>
                <a:lnTo>
                  <a:pt x="4343215" y="1815519"/>
                </a:lnTo>
                <a:lnTo>
                  <a:pt x="4311104" y="1847231"/>
                </a:lnTo>
                <a:lnTo>
                  <a:pt x="4286336" y="1884691"/>
                </a:lnTo>
                <a:lnTo>
                  <a:pt x="4269733" y="1926654"/>
                </a:lnTo>
                <a:lnTo>
                  <a:pt x="4262121" y="1971875"/>
                </a:lnTo>
                <a:lnTo>
                  <a:pt x="4264151" y="2017694"/>
                </a:lnTo>
                <a:lnTo>
                  <a:pt x="4275500" y="2061374"/>
                </a:lnTo>
                <a:lnTo>
                  <a:pt x="4295504" y="2101581"/>
                </a:lnTo>
                <a:lnTo>
                  <a:pt x="4323498" y="2136980"/>
                </a:lnTo>
                <a:lnTo>
                  <a:pt x="4358819" y="2166236"/>
                </a:lnTo>
                <a:lnTo>
                  <a:pt x="4404134" y="2198719"/>
                </a:lnTo>
                <a:lnTo>
                  <a:pt x="4446405" y="2233760"/>
                </a:lnTo>
                <a:lnTo>
                  <a:pt x="4485737" y="2271116"/>
                </a:lnTo>
                <a:lnTo>
                  <a:pt x="4522234" y="2310545"/>
                </a:lnTo>
                <a:lnTo>
                  <a:pt x="4556004" y="2351806"/>
                </a:lnTo>
                <a:lnTo>
                  <a:pt x="4587151" y="2394655"/>
                </a:lnTo>
                <a:lnTo>
                  <a:pt x="4615781" y="2438851"/>
                </a:lnTo>
                <a:lnTo>
                  <a:pt x="4641999" y="2484153"/>
                </a:lnTo>
                <a:lnTo>
                  <a:pt x="4665912" y="2530318"/>
                </a:lnTo>
                <a:lnTo>
                  <a:pt x="4687624" y="2577103"/>
                </a:lnTo>
                <a:lnTo>
                  <a:pt x="4707242" y="2624268"/>
                </a:lnTo>
                <a:lnTo>
                  <a:pt x="4724870" y="2671569"/>
                </a:lnTo>
                <a:lnTo>
                  <a:pt x="4740615" y="2718766"/>
                </a:lnTo>
                <a:lnTo>
                  <a:pt x="4754582" y="2765615"/>
                </a:lnTo>
                <a:lnTo>
                  <a:pt x="4765500" y="2806700"/>
                </a:lnTo>
                <a:lnTo>
                  <a:pt x="5211269" y="2806700"/>
                </a:lnTo>
                <a:lnTo>
                  <a:pt x="5196084" y="2736238"/>
                </a:lnTo>
                <a:lnTo>
                  <a:pt x="5183466" y="2685427"/>
                </a:lnTo>
                <a:lnTo>
                  <a:pt x="5169731" y="2635536"/>
                </a:lnTo>
                <a:lnTo>
                  <a:pt x="5154889" y="2586584"/>
                </a:lnTo>
                <a:lnTo>
                  <a:pt x="5138950" y="2538589"/>
                </a:lnTo>
                <a:lnTo>
                  <a:pt x="5121922" y="2491568"/>
                </a:lnTo>
                <a:lnTo>
                  <a:pt x="5103815" y="2445540"/>
                </a:lnTo>
                <a:lnTo>
                  <a:pt x="5084638" y="2400522"/>
                </a:lnTo>
                <a:lnTo>
                  <a:pt x="5064402" y="2356533"/>
                </a:lnTo>
                <a:lnTo>
                  <a:pt x="5043114" y="2313591"/>
                </a:lnTo>
                <a:lnTo>
                  <a:pt x="5020784" y="2271713"/>
                </a:lnTo>
                <a:lnTo>
                  <a:pt x="4997422" y="2230918"/>
                </a:lnTo>
                <a:lnTo>
                  <a:pt x="4973037" y="2191224"/>
                </a:lnTo>
                <a:lnTo>
                  <a:pt x="4947638" y="2152649"/>
                </a:lnTo>
                <a:lnTo>
                  <a:pt x="4921234" y="2115210"/>
                </a:lnTo>
                <a:lnTo>
                  <a:pt x="4893836" y="2078926"/>
                </a:lnTo>
                <a:lnTo>
                  <a:pt x="4865451" y="2043815"/>
                </a:lnTo>
                <a:lnTo>
                  <a:pt x="4836090" y="2009895"/>
                </a:lnTo>
                <a:lnTo>
                  <a:pt x="4805762" y="1977183"/>
                </a:lnTo>
                <a:lnTo>
                  <a:pt x="4774476" y="1945699"/>
                </a:lnTo>
                <a:lnTo>
                  <a:pt x="4742242" y="1915459"/>
                </a:lnTo>
                <a:lnTo>
                  <a:pt x="4709068" y="1886482"/>
                </a:lnTo>
                <a:lnTo>
                  <a:pt x="4674965" y="1858786"/>
                </a:lnTo>
                <a:lnTo>
                  <a:pt x="4639940" y="1832389"/>
                </a:lnTo>
                <a:lnTo>
                  <a:pt x="4604005" y="1807309"/>
                </a:lnTo>
                <a:lnTo>
                  <a:pt x="4563708" y="1785013"/>
                </a:lnTo>
                <a:lnTo>
                  <a:pt x="4519775" y="1771691"/>
                </a:lnTo>
                <a:lnTo>
                  <a:pt x="4473773" y="1767867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8B7F364-AB40-FA40-AAC6-6C81B36D7EE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63520" y="-4288"/>
            <a:ext cx="6128480" cy="553998"/>
          </a:xfrm>
          <a:pattFill prst="pct10">
            <a:fgClr>
              <a:schemeClr val="bg1"/>
            </a:fgClr>
            <a:bgClr>
              <a:srgbClr val="1C7862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6310524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PIs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6128481" y="0"/>
            <a:ext cx="60635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55" y="347186"/>
            <a:ext cx="5305425" cy="934871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6075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</p:spTree>
    <p:extLst>
      <p:ext uri="{BB962C8B-B14F-4D97-AF65-F5344CB8AC3E}">
        <p14:creationId xmlns:p14="http://schemas.microsoft.com/office/powerpoint/2010/main" val="456393651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PIs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6128481" y="0"/>
            <a:ext cx="60635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855" y="347186"/>
            <a:ext cx="5305425" cy="934871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6075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</p:spTree>
    <p:extLst>
      <p:ext uri="{BB962C8B-B14F-4D97-AF65-F5344CB8AC3E}">
        <p14:creationId xmlns:p14="http://schemas.microsoft.com/office/powerpoint/2010/main" val="384374164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PIs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09254E-0E4D-40CE-8E59-D74029A9C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593668"/>
              </p:ext>
            </p:extLst>
          </p:nvPr>
        </p:nvGraphicFramePr>
        <p:xfrm>
          <a:off x="1191" y="1072"/>
          <a:ext cx="1191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" imgH="635" progId="TCLayout.ActiveDocument.1">
                  <p:embed/>
                </p:oleObj>
              </mc:Choice>
              <mc:Fallback>
                <p:oleObj name="think-cell Slide" r:id="rId3" imgW="635" imgH="63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09254E-0E4D-40CE-8E59-D74029A9C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072"/>
                        <a:ext cx="1191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0"/>
            <a:ext cx="606352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47" y="347186"/>
            <a:ext cx="5305425" cy="934871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6075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</p:spTree>
    <p:extLst>
      <p:ext uri="{BB962C8B-B14F-4D97-AF65-F5344CB8AC3E}">
        <p14:creationId xmlns:p14="http://schemas.microsoft.com/office/powerpoint/2010/main" val="2430931206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C3F4436-7160-AD4D-881E-D8A32B5904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53998"/>
          </a:xfrm>
          <a:pattFill prst="pct80">
            <a:fgClr>
              <a:srgbClr val="1C7862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  <p:pic>
        <p:nvPicPr>
          <p:cNvPr id="8" name="object 8">
            <a:extLst>
              <a:ext uri="{FF2B5EF4-FFF2-40B4-BE49-F238E27FC236}">
                <a16:creationId xmlns:a16="http://schemas.microsoft.com/office/drawing/2014/main" id="{8B965160-B596-8A42-853C-E73B7FC1B450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324350" y="3017521"/>
            <a:ext cx="3002117" cy="659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68150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39C4B981-F0CA-FE43-957C-DB2C65E373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23070" y="-28694"/>
            <a:ext cx="3593306" cy="311752"/>
          </a:xfrm>
          <a:custGeom>
            <a:avLst/>
            <a:gdLst>
              <a:gd name="connsiteX0" fmla="*/ 0 w 4038600"/>
              <a:gd name="connsiteY0" fmla="*/ 194757 h 389513"/>
              <a:gd name="connsiteX1" fmla="*/ 2019300 w 4038600"/>
              <a:gd name="connsiteY1" fmla="*/ 0 h 389513"/>
              <a:gd name="connsiteX2" fmla="*/ 4038600 w 4038600"/>
              <a:gd name="connsiteY2" fmla="*/ 194757 h 389513"/>
              <a:gd name="connsiteX3" fmla="*/ 2019300 w 4038600"/>
              <a:gd name="connsiteY3" fmla="*/ 389514 h 389513"/>
              <a:gd name="connsiteX4" fmla="*/ 0 w 4038600"/>
              <a:gd name="connsiteY4" fmla="*/ 194757 h 389513"/>
              <a:gd name="connsiteX0" fmla="*/ 86 w 4038686"/>
              <a:gd name="connsiteY0" fmla="*/ 320794 h 3615212"/>
              <a:gd name="connsiteX1" fmla="*/ 2019386 w 4038686"/>
              <a:gd name="connsiteY1" fmla="*/ 126037 h 3615212"/>
              <a:gd name="connsiteX2" fmla="*/ 4038686 w 4038686"/>
              <a:gd name="connsiteY2" fmla="*/ 320794 h 3615212"/>
              <a:gd name="connsiteX3" fmla="*/ 2081379 w 4038686"/>
              <a:gd name="connsiteY3" fmla="*/ 3615212 h 3615212"/>
              <a:gd name="connsiteX4" fmla="*/ 86 w 4038686"/>
              <a:gd name="connsiteY4" fmla="*/ 320794 h 3615212"/>
              <a:gd name="connsiteX0" fmla="*/ 66 w 3868185"/>
              <a:gd name="connsiteY0" fmla="*/ 2336759 h 3681989"/>
              <a:gd name="connsiteX1" fmla="*/ 1848885 w 3868185"/>
              <a:gd name="connsiteY1" fmla="*/ 127222 h 3681989"/>
              <a:gd name="connsiteX2" fmla="*/ 3868185 w 3868185"/>
              <a:gd name="connsiteY2" fmla="*/ 321979 h 3681989"/>
              <a:gd name="connsiteX3" fmla="*/ 1910878 w 3868185"/>
              <a:gd name="connsiteY3" fmla="*/ 3616397 h 3681989"/>
              <a:gd name="connsiteX4" fmla="*/ 66 w 3868185"/>
              <a:gd name="connsiteY4" fmla="*/ 2336759 h 3681989"/>
              <a:gd name="connsiteX0" fmla="*/ 58458 w 3926577"/>
              <a:gd name="connsiteY0" fmla="*/ 2139671 h 3482778"/>
              <a:gd name="connsiteX1" fmla="*/ 806898 w 3926577"/>
              <a:gd name="connsiteY1" fmla="*/ 209103 h 3482778"/>
              <a:gd name="connsiteX2" fmla="*/ 3926577 w 3926577"/>
              <a:gd name="connsiteY2" fmla="*/ 124891 h 3482778"/>
              <a:gd name="connsiteX3" fmla="*/ 1969270 w 3926577"/>
              <a:gd name="connsiteY3" fmla="*/ 3419309 h 3482778"/>
              <a:gd name="connsiteX4" fmla="*/ 58458 w 3926577"/>
              <a:gd name="connsiteY4" fmla="*/ 2139671 h 348277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61104 h 3247167"/>
              <a:gd name="connsiteX1" fmla="*/ 798950 w 3376188"/>
              <a:gd name="connsiteY1" fmla="*/ 30536 h 3247167"/>
              <a:gd name="connsiteX2" fmla="*/ 3376188 w 3376188"/>
              <a:gd name="connsiteY2" fmla="*/ 1434162 h 3247167"/>
              <a:gd name="connsiteX3" fmla="*/ 1961322 w 3376188"/>
              <a:gd name="connsiteY3" fmla="*/ 3240742 h 3247167"/>
              <a:gd name="connsiteX4" fmla="*/ 50510 w 3376188"/>
              <a:gd name="connsiteY4" fmla="*/ 1961104 h 3247167"/>
              <a:gd name="connsiteX0" fmla="*/ 50510 w 3376188"/>
              <a:gd name="connsiteY0" fmla="*/ 2048096 h 3334159"/>
              <a:gd name="connsiteX1" fmla="*/ 798950 w 3376188"/>
              <a:gd name="connsiteY1" fmla="*/ 117528 h 3334159"/>
              <a:gd name="connsiteX2" fmla="*/ 3376188 w 3376188"/>
              <a:gd name="connsiteY2" fmla="*/ 1521154 h 3334159"/>
              <a:gd name="connsiteX3" fmla="*/ 1961322 w 3376188"/>
              <a:gd name="connsiteY3" fmla="*/ 3327734 h 3334159"/>
              <a:gd name="connsiteX4" fmla="*/ 50510 w 3376188"/>
              <a:gd name="connsiteY4" fmla="*/ 2048096 h 3334159"/>
              <a:gd name="connsiteX0" fmla="*/ 67692 w 3393370"/>
              <a:gd name="connsiteY0" fmla="*/ 2048096 h 3347554"/>
              <a:gd name="connsiteX1" fmla="*/ 816132 w 3393370"/>
              <a:gd name="connsiteY1" fmla="*/ 117528 h 3347554"/>
              <a:gd name="connsiteX2" fmla="*/ 3393370 w 3393370"/>
              <a:gd name="connsiteY2" fmla="*/ 1521154 h 3347554"/>
              <a:gd name="connsiteX3" fmla="*/ 1978504 w 3393370"/>
              <a:gd name="connsiteY3" fmla="*/ 3327734 h 3347554"/>
              <a:gd name="connsiteX4" fmla="*/ 67692 w 3393370"/>
              <a:gd name="connsiteY4" fmla="*/ 2048096 h 3347554"/>
              <a:gd name="connsiteX0" fmla="*/ 42282 w 3367960"/>
              <a:gd name="connsiteY0" fmla="*/ 2069992 h 3356091"/>
              <a:gd name="connsiteX1" fmla="*/ 852715 w 3367960"/>
              <a:gd name="connsiteY1" fmla="*/ 108427 h 3356091"/>
              <a:gd name="connsiteX2" fmla="*/ 3367960 w 3367960"/>
              <a:gd name="connsiteY2" fmla="*/ 1543050 h 3356091"/>
              <a:gd name="connsiteX3" fmla="*/ 1953094 w 3367960"/>
              <a:gd name="connsiteY3" fmla="*/ 3349630 h 3356091"/>
              <a:gd name="connsiteX4" fmla="*/ 42282 w 3367960"/>
              <a:gd name="connsiteY4" fmla="*/ 2069992 h 3356091"/>
              <a:gd name="connsiteX0" fmla="*/ 66078 w 3391756"/>
              <a:gd name="connsiteY0" fmla="*/ 2173120 h 3459219"/>
              <a:gd name="connsiteX1" fmla="*/ 876511 w 3391756"/>
              <a:gd name="connsiteY1" fmla="*/ 211555 h 3459219"/>
              <a:gd name="connsiteX2" fmla="*/ 3391756 w 3391756"/>
              <a:gd name="connsiteY2" fmla="*/ 1646178 h 3459219"/>
              <a:gd name="connsiteX3" fmla="*/ 1976890 w 3391756"/>
              <a:gd name="connsiteY3" fmla="*/ 3452758 h 3459219"/>
              <a:gd name="connsiteX4" fmla="*/ 66078 w 3391756"/>
              <a:gd name="connsiteY4" fmla="*/ 2173120 h 3459219"/>
              <a:gd name="connsiteX0" fmla="*/ 41431 w 3382607"/>
              <a:gd name="connsiteY0" fmla="*/ 2286358 h 3379130"/>
              <a:gd name="connsiteX1" fmla="*/ 867362 w 3382607"/>
              <a:gd name="connsiteY1" fmla="*/ 123315 h 3379130"/>
              <a:gd name="connsiteX2" fmla="*/ 3382607 w 3382607"/>
              <a:gd name="connsiteY2" fmla="*/ 1557938 h 3379130"/>
              <a:gd name="connsiteX3" fmla="*/ 1967741 w 3382607"/>
              <a:gd name="connsiteY3" fmla="*/ 3364518 h 3379130"/>
              <a:gd name="connsiteX4" fmla="*/ 41431 w 3382607"/>
              <a:gd name="connsiteY4" fmla="*/ 2286358 h 3379130"/>
              <a:gd name="connsiteX0" fmla="*/ 46622 w 3387798"/>
              <a:gd name="connsiteY0" fmla="*/ 2286358 h 3392606"/>
              <a:gd name="connsiteX1" fmla="*/ 872553 w 3387798"/>
              <a:gd name="connsiteY1" fmla="*/ 123315 h 3392606"/>
              <a:gd name="connsiteX2" fmla="*/ 3387798 w 3387798"/>
              <a:gd name="connsiteY2" fmla="*/ 1557938 h 3392606"/>
              <a:gd name="connsiteX3" fmla="*/ 1972932 w 3387798"/>
              <a:gd name="connsiteY3" fmla="*/ 3364518 h 3392606"/>
              <a:gd name="connsiteX4" fmla="*/ 46622 w 3387798"/>
              <a:gd name="connsiteY4" fmla="*/ 2286358 h 3392606"/>
              <a:gd name="connsiteX0" fmla="*/ 34606 w 3375782"/>
              <a:gd name="connsiteY0" fmla="*/ 2286358 h 3379130"/>
              <a:gd name="connsiteX1" fmla="*/ 922530 w 3375782"/>
              <a:gd name="connsiteY1" fmla="*/ 123315 h 3379130"/>
              <a:gd name="connsiteX2" fmla="*/ 3375782 w 3375782"/>
              <a:gd name="connsiteY2" fmla="*/ 1557938 h 3379130"/>
              <a:gd name="connsiteX3" fmla="*/ 1960916 w 3375782"/>
              <a:gd name="connsiteY3" fmla="*/ 3364518 h 3379130"/>
              <a:gd name="connsiteX4" fmla="*/ 34606 w 3375782"/>
              <a:gd name="connsiteY4" fmla="*/ 2286358 h 3379130"/>
              <a:gd name="connsiteX0" fmla="*/ 55999 w 3397175"/>
              <a:gd name="connsiteY0" fmla="*/ 2293230 h 3386002"/>
              <a:gd name="connsiteX1" fmla="*/ 943923 w 3397175"/>
              <a:gd name="connsiteY1" fmla="*/ 130187 h 3386002"/>
              <a:gd name="connsiteX2" fmla="*/ 3397175 w 3397175"/>
              <a:gd name="connsiteY2" fmla="*/ 1564810 h 3386002"/>
              <a:gd name="connsiteX3" fmla="*/ 1982309 w 3397175"/>
              <a:gd name="connsiteY3" fmla="*/ 3371390 h 3386002"/>
              <a:gd name="connsiteX4" fmla="*/ 55999 w 3397175"/>
              <a:gd name="connsiteY4" fmla="*/ 2293230 h 3386002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4983 w 3396159"/>
              <a:gd name="connsiteY0" fmla="*/ 2293230 h 3411721"/>
              <a:gd name="connsiteX1" fmla="*/ 942907 w 3396159"/>
              <a:gd name="connsiteY1" fmla="*/ 130187 h 3411721"/>
              <a:gd name="connsiteX2" fmla="*/ 3396159 w 3396159"/>
              <a:gd name="connsiteY2" fmla="*/ 1564810 h 3411721"/>
              <a:gd name="connsiteX3" fmla="*/ 1965795 w 3396159"/>
              <a:gd name="connsiteY3" fmla="*/ 3386888 h 3411721"/>
              <a:gd name="connsiteX4" fmla="*/ 54983 w 3396159"/>
              <a:gd name="connsiteY4" fmla="*/ 2293230 h 3411721"/>
              <a:gd name="connsiteX0" fmla="*/ 54983 w 3396159"/>
              <a:gd name="connsiteY0" fmla="*/ 2293230 h 3395472"/>
              <a:gd name="connsiteX1" fmla="*/ 942907 w 3396159"/>
              <a:gd name="connsiteY1" fmla="*/ 130187 h 3395472"/>
              <a:gd name="connsiteX2" fmla="*/ 3396159 w 3396159"/>
              <a:gd name="connsiteY2" fmla="*/ 1564810 h 3395472"/>
              <a:gd name="connsiteX3" fmla="*/ 1965795 w 3396159"/>
              <a:gd name="connsiteY3" fmla="*/ 3386888 h 3395472"/>
              <a:gd name="connsiteX4" fmla="*/ 54983 w 3396159"/>
              <a:gd name="connsiteY4" fmla="*/ 2293230 h 3395472"/>
              <a:gd name="connsiteX0" fmla="*/ 46923 w 3388099"/>
              <a:gd name="connsiteY0" fmla="*/ 2293230 h 3410821"/>
              <a:gd name="connsiteX1" fmla="*/ 934847 w 3388099"/>
              <a:gd name="connsiteY1" fmla="*/ 130187 h 3410821"/>
              <a:gd name="connsiteX2" fmla="*/ 3388099 w 3388099"/>
              <a:gd name="connsiteY2" fmla="*/ 1564810 h 3410821"/>
              <a:gd name="connsiteX3" fmla="*/ 1833748 w 3388099"/>
              <a:gd name="connsiteY3" fmla="*/ 3402387 h 3410821"/>
              <a:gd name="connsiteX4" fmla="*/ 46923 w 3388099"/>
              <a:gd name="connsiteY4" fmla="*/ 2293230 h 3410821"/>
              <a:gd name="connsiteX0" fmla="*/ 35746 w 3376922"/>
              <a:gd name="connsiteY0" fmla="*/ 2320727 h 3438318"/>
              <a:gd name="connsiteX1" fmla="*/ 923670 w 3376922"/>
              <a:gd name="connsiteY1" fmla="*/ 157684 h 3438318"/>
              <a:gd name="connsiteX2" fmla="*/ 3376922 w 3376922"/>
              <a:gd name="connsiteY2" fmla="*/ 1592307 h 3438318"/>
              <a:gd name="connsiteX3" fmla="*/ 1822571 w 3376922"/>
              <a:gd name="connsiteY3" fmla="*/ 3429884 h 3438318"/>
              <a:gd name="connsiteX4" fmla="*/ 35746 w 3376922"/>
              <a:gd name="connsiteY4" fmla="*/ 2320727 h 3438318"/>
              <a:gd name="connsiteX0" fmla="*/ 48481 w 3389657"/>
              <a:gd name="connsiteY0" fmla="*/ 2320727 h 3438318"/>
              <a:gd name="connsiteX1" fmla="*/ 936405 w 3389657"/>
              <a:gd name="connsiteY1" fmla="*/ 157684 h 3438318"/>
              <a:gd name="connsiteX2" fmla="*/ 3389657 w 3389657"/>
              <a:gd name="connsiteY2" fmla="*/ 1592307 h 3438318"/>
              <a:gd name="connsiteX3" fmla="*/ 1835306 w 3389657"/>
              <a:gd name="connsiteY3" fmla="*/ 3429884 h 3438318"/>
              <a:gd name="connsiteX4" fmla="*/ 48481 w 3389657"/>
              <a:gd name="connsiteY4" fmla="*/ 2320727 h 3438318"/>
              <a:gd name="connsiteX0" fmla="*/ 43454 w 3384630"/>
              <a:gd name="connsiteY0" fmla="*/ 2320727 h 16896762"/>
              <a:gd name="connsiteX1" fmla="*/ 931378 w 3384630"/>
              <a:gd name="connsiteY1" fmla="*/ 157684 h 16896762"/>
              <a:gd name="connsiteX2" fmla="*/ 3384630 w 3384630"/>
              <a:gd name="connsiteY2" fmla="*/ 1592307 h 16896762"/>
              <a:gd name="connsiteX3" fmla="*/ 1752788 w 3384630"/>
              <a:gd name="connsiteY3" fmla="*/ 16896251 h 16896762"/>
              <a:gd name="connsiteX4" fmla="*/ 43454 w 3384630"/>
              <a:gd name="connsiteY4" fmla="*/ 2320727 h 16896762"/>
              <a:gd name="connsiteX0" fmla="*/ 24243 w 3396416"/>
              <a:gd name="connsiteY0" fmla="*/ 2636095 h 17284134"/>
              <a:gd name="connsiteX1" fmla="*/ 912167 w 3396416"/>
              <a:gd name="connsiteY1" fmla="*/ 473052 h 17284134"/>
              <a:gd name="connsiteX2" fmla="*/ 3396416 w 3396416"/>
              <a:gd name="connsiteY2" fmla="*/ 8217630 h 17284134"/>
              <a:gd name="connsiteX3" fmla="*/ 1733577 w 3396416"/>
              <a:gd name="connsiteY3" fmla="*/ 17211619 h 17284134"/>
              <a:gd name="connsiteX4" fmla="*/ 24243 w 3396416"/>
              <a:gd name="connsiteY4" fmla="*/ 2636095 h 17284134"/>
              <a:gd name="connsiteX0" fmla="*/ 25326 w 3366502"/>
              <a:gd name="connsiteY0" fmla="*/ 10028716 h 16778518"/>
              <a:gd name="connsiteX1" fmla="*/ 882253 w 3366502"/>
              <a:gd name="connsiteY1" fmla="*/ 16705 h 16778518"/>
              <a:gd name="connsiteX2" fmla="*/ 3366502 w 3366502"/>
              <a:gd name="connsiteY2" fmla="*/ 7761283 h 16778518"/>
              <a:gd name="connsiteX3" fmla="*/ 1703663 w 3366502"/>
              <a:gd name="connsiteY3" fmla="*/ 16755272 h 16778518"/>
              <a:gd name="connsiteX4" fmla="*/ 25326 w 3366502"/>
              <a:gd name="connsiteY4" fmla="*/ 10028716 h 16778518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7134 w 3321815"/>
              <a:gd name="connsiteY0" fmla="*/ 11893866 h 17094294"/>
              <a:gd name="connsiteX1" fmla="*/ 837566 w 3321815"/>
              <a:gd name="connsiteY1" fmla="*/ 265889 h 17094294"/>
              <a:gd name="connsiteX2" fmla="*/ 3321815 w 3321815"/>
              <a:gd name="connsiteY2" fmla="*/ 8010467 h 17094294"/>
              <a:gd name="connsiteX3" fmla="*/ 1658976 w 3321815"/>
              <a:gd name="connsiteY3" fmla="*/ 17004456 h 17094294"/>
              <a:gd name="connsiteX4" fmla="*/ 27134 w 3321815"/>
              <a:gd name="connsiteY4" fmla="*/ 11893866 h 17094294"/>
              <a:gd name="connsiteX0" fmla="*/ 128797 w 3423478"/>
              <a:gd name="connsiteY0" fmla="*/ 11893866 h 17190359"/>
              <a:gd name="connsiteX1" fmla="*/ 939229 w 3423478"/>
              <a:gd name="connsiteY1" fmla="*/ 265889 h 17190359"/>
              <a:gd name="connsiteX2" fmla="*/ 3423478 w 3423478"/>
              <a:gd name="connsiteY2" fmla="*/ 8010467 h 17190359"/>
              <a:gd name="connsiteX3" fmla="*/ 1760639 w 3423478"/>
              <a:gd name="connsiteY3" fmla="*/ 17004456 h 17190359"/>
              <a:gd name="connsiteX4" fmla="*/ 128797 w 3423478"/>
              <a:gd name="connsiteY4" fmla="*/ 11893866 h 17190359"/>
              <a:gd name="connsiteX0" fmla="*/ 27134 w 3321815"/>
              <a:gd name="connsiteY0" fmla="*/ 11311673 h 16509395"/>
              <a:gd name="connsiteX1" fmla="*/ 837566 w 3321815"/>
              <a:gd name="connsiteY1" fmla="*/ 376250 h 16509395"/>
              <a:gd name="connsiteX2" fmla="*/ 3321815 w 3321815"/>
              <a:gd name="connsiteY2" fmla="*/ 7428274 h 16509395"/>
              <a:gd name="connsiteX3" fmla="*/ 1658976 w 3321815"/>
              <a:gd name="connsiteY3" fmla="*/ 16422263 h 16509395"/>
              <a:gd name="connsiteX4" fmla="*/ 27134 w 3321815"/>
              <a:gd name="connsiteY4" fmla="*/ 11311673 h 16509395"/>
              <a:gd name="connsiteX0" fmla="*/ 27134 w 3321815"/>
              <a:gd name="connsiteY0" fmla="*/ 11648471 h 16846193"/>
              <a:gd name="connsiteX1" fmla="*/ 837566 w 3321815"/>
              <a:gd name="connsiteY1" fmla="*/ 713048 h 16846193"/>
              <a:gd name="connsiteX2" fmla="*/ 3321815 w 3321815"/>
              <a:gd name="connsiteY2" fmla="*/ 7765072 h 16846193"/>
              <a:gd name="connsiteX3" fmla="*/ 1658976 w 3321815"/>
              <a:gd name="connsiteY3" fmla="*/ 16759061 h 16846193"/>
              <a:gd name="connsiteX4" fmla="*/ 27134 w 3321815"/>
              <a:gd name="connsiteY4" fmla="*/ 11648471 h 16846193"/>
              <a:gd name="connsiteX0" fmla="*/ 74052 w 3368733"/>
              <a:gd name="connsiteY0" fmla="*/ 11580901 h 16778623"/>
              <a:gd name="connsiteX1" fmla="*/ 884484 w 3368733"/>
              <a:gd name="connsiteY1" fmla="*/ 645478 h 16778623"/>
              <a:gd name="connsiteX2" fmla="*/ 3368733 w 3368733"/>
              <a:gd name="connsiteY2" fmla="*/ 7697502 h 16778623"/>
              <a:gd name="connsiteX3" fmla="*/ 1705894 w 3368733"/>
              <a:gd name="connsiteY3" fmla="*/ 16691491 h 16778623"/>
              <a:gd name="connsiteX4" fmla="*/ 74052 w 3368733"/>
              <a:gd name="connsiteY4" fmla="*/ 11580901 h 16778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8733" h="16778623">
                <a:moveTo>
                  <a:pt x="74052" y="11580901"/>
                </a:moveTo>
                <a:cubicBezTo>
                  <a:pt x="-62850" y="8906565"/>
                  <a:pt x="-114081" y="1908322"/>
                  <a:pt x="884484" y="645478"/>
                </a:cubicBezTo>
                <a:cubicBezTo>
                  <a:pt x="1883049" y="-617366"/>
                  <a:pt x="2903783" y="-826162"/>
                  <a:pt x="3368733" y="7697502"/>
                </a:cubicBezTo>
                <a:cubicBezTo>
                  <a:pt x="3337736" y="15402997"/>
                  <a:pt x="2255008" y="16044258"/>
                  <a:pt x="1705894" y="16691491"/>
                </a:cubicBezTo>
                <a:cubicBezTo>
                  <a:pt x="1156781" y="17338724"/>
                  <a:pt x="210954" y="14255237"/>
                  <a:pt x="74052" y="11580901"/>
                </a:cubicBezTo>
                <a:close/>
              </a:path>
            </a:pathLst>
          </a:custGeom>
          <a:pattFill prst="pct80">
            <a:fgClr>
              <a:srgbClr val="1C7862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13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AE541290-D361-1D46-90BD-07A00379B94A}"/>
              </a:ext>
            </a:extLst>
          </p:cNvPr>
          <p:cNvSpPr/>
          <p:nvPr userDrawn="1"/>
        </p:nvSpPr>
        <p:spPr>
          <a:xfrm>
            <a:off x="8598906" y="4668421"/>
            <a:ext cx="3593306" cy="2189845"/>
          </a:xfrm>
          <a:custGeom>
            <a:avLst/>
            <a:gdLst/>
            <a:ahLst/>
            <a:cxnLst/>
            <a:rect l="l" t="t" r="r" b="b"/>
            <a:pathLst>
              <a:path w="4791075" h="3244215">
                <a:moveTo>
                  <a:pt x="194556" y="2596891"/>
                </a:moveTo>
                <a:lnTo>
                  <a:pt x="147962" y="2599764"/>
                </a:lnTo>
                <a:lnTo>
                  <a:pt x="102994" y="2614654"/>
                </a:lnTo>
                <a:lnTo>
                  <a:pt x="62088" y="2641701"/>
                </a:lnTo>
                <a:lnTo>
                  <a:pt x="29762" y="2678607"/>
                </a:lnTo>
                <a:lnTo>
                  <a:pt x="9016" y="2721298"/>
                </a:lnTo>
                <a:lnTo>
                  <a:pt x="0" y="2767288"/>
                </a:lnTo>
                <a:lnTo>
                  <a:pt x="2858" y="2814094"/>
                </a:lnTo>
                <a:lnTo>
                  <a:pt x="17740" y="2859229"/>
                </a:lnTo>
                <a:lnTo>
                  <a:pt x="44791" y="2900210"/>
                </a:lnTo>
                <a:lnTo>
                  <a:pt x="74391" y="2934089"/>
                </a:lnTo>
                <a:lnTo>
                  <a:pt x="104350" y="2967829"/>
                </a:lnTo>
                <a:lnTo>
                  <a:pt x="134899" y="3001148"/>
                </a:lnTo>
                <a:lnTo>
                  <a:pt x="166270" y="3033764"/>
                </a:lnTo>
                <a:lnTo>
                  <a:pt x="198695" y="3065393"/>
                </a:lnTo>
                <a:lnTo>
                  <a:pt x="232408" y="3095754"/>
                </a:lnTo>
                <a:lnTo>
                  <a:pt x="267638" y="3124564"/>
                </a:lnTo>
                <a:lnTo>
                  <a:pt x="304620" y="3151541"/>
                </a:lnTo>
                <a:lnTo>
                  <a:pt x="343585" y="3176402"/>
                </a:lnTo>
                <a:lnTo>
                  <a:pt x="384765" y="3198864"/>
                </a:lnTo>
                <a:lnTo>
                  <a:pt x="428392" y="3218646"/>
                </a:lnTo>
                <a:lnTo>
                  <a:pt x="474698" y="3235464"/>
                </a:lnTo>
                <a:lnTo>
                  <a:pt x="505002" y="3243821"/>
                </a:lnTo>
                <a:lnTo>
                  <a:pt x="878174" y="3243821"/>
                </a:lnTo>
                <a:lnTo>
                  <a:pt x="955336" y="3218462"/>
                </a:lnTo>
                <a:lnTo>
                  <a:pt x="999071" y="3198603"/>
                </a:lnTo>
                <a:lnTo>
                  <a:pt x="1040335" y="3176050"/>
                </a:lnTo>
                <a:lnTo>
                  <a:pt x="1079363" y="3151087"/>
                </a:lnTo>
                <a:lnTo>
                  <a:pt x="1116391" y="3123996"/>
                </a:lnTo>
                <a:lnTo>
                  <a:pt x="1151653" y="3095061"/>
                </a:lnTo>
                <a:lnTo>
                  <a:pt x="1185386" y="3064564"/>
                </a:lnTo>
                <a:lnTo>
                  <a:pt x="1217825" y="3032789"/>
                </a:lnTo>
                <a:lnTo>
                  <a:pt x="1249204" y="3000017"/>
                </a:lnTo>
                <a:lnTo>
                  <a:pt x="1279759" y="2966533"/>
                </a:lnTo>
                <a:lnTo>
                  <a:pt x="1309726" y="2932619"/>
                </a:lnTo>
                <a:lnTo>
                  <a:pt x="1336624" y="2901683"/>
                </a:lnTo>
                <a:lnTo>
                  <a:pt x="691361" y="2901683"/>
                </a:lnTo>
                <a:lnTo>
                  <a:pt x="642971" y="2899043"/>
                </a:lnTo>
                <a:lnTo>
                  <a:pt x="599720" y="2890978"/>
                </a:lnTo>
                <a:lnTo>
                  <a:pt x="560056" y="2877185"/>
                </a:lnTo>
                <a:lnTo>
                  <a:pt x="522621" y="2857399"/>
                </a:lnTo>
                <a:lnTo>
                  <a:pt x="486011" y="2831345"/>
                </a:lnTo>
                <a:lnTo>
                  <a:pt x="448696" y="2798625"/>
                </a:lnTo>
                <a:lnTo>
                  <a:pt x="409539" y="2759223"/>
                </a:lnTo>
                <a:lnTo>
                  <a:pt x="367009" y="2712758"/>
                </a:lnTo>
                <a:lnTo>
                  <a:pt x="319708" y="2658960"/>
                </a:lnTo>
                <a:lnTo>
                  <a:pt x="282866" y="2626630"/>
                </a:lnTo>
                <a:lnTo>
                  <a:pt x="240336" y="2605893"/>
                </a:lnTo>
                <a:lnTo>
                  <a:pt x="194556" y="2596891"/>
                </a:lnTo>
                <a:close/>
              </a:path>
              <a:path w="4791075" h="3244215">
                <a:moveTo>
                  <a:pt x="2697284" y="2558795"/>
                </a:moveTo>
                <a:lnTo>
                  <a:pt x="1924378" y="2558795"/>
                </a:lnTo>
                <a:lnTo>
                  <a:pt x="1980842" y="2560950"/>
                </a:lnTo>
                <a:lnTo>
                  <a:pt x="2033594" y="2567229"/>
                </a:lnTo>
                <a:lnTo>
                  <a:pt x="2082915" y="2577357"/>
                </a:lnTo>
                <a:lnTo>
                  <a:pt x="2129085" y="2591057"/>
                </a:lnTo>
                <a:lnTo>
                  <a:pt x="2172387" y="2608054"/>
                </a:lnTo>
                <a:lnTo>
                  <a:pt x="2213100" y="2628071"/>
                </a:lnTo>
                <a:lnTo>
                  <a:pt x="2251506" y="2650832"/>
                </a:lnTo>
                <a:lnTo>
                  <a:pt x="2287886" y="2676060"/>
                </a:lnTo>
                <a:lnTo>
                  <a:pt x="2322521" y="2703480"/>
                </a:lnTo>
                <a:lnTo>
                  <a:pt x="2355692" y="2732816"/>
                </a:lnTo>
                <a:lnTo>
                  <a:pt x="2387680" y="2763790"/>
                </a:lnTo>
                <a:lnTo>
                  <a:pt x="2418767" y="2796128"/>
                </a:lnTo>
                <a:lnTo>
                  <a:pt x="2449233" y="2829553"/>
                </a:lnTo>
                <a:lnTo>
                  <a:pt x="2479360" y="2863789"/>
                </a:lnTo>
                <a:lnTo>
                  <a:pt x="2509860" y="2899053"/>
                </a:lnTo>
                <a:lnTo>
                  <a:pt x="2540467" y="2934089"/>
                </a:lnTo>
                <a:lnTo>
                  <a:pt x="2570427" y="2967829"/>
                </a:lnTo>
                <a:lnTo>
                  <a:pt x="2600977" y="3001148"/>
                </a:lnTo>
                <a:lnTo>
                  <a:pt x="2632349" y="3033764"/>
                </a:lnTo>
                <a:lnTo>
                  <a:pt x="2664775" y="3065393"/>
                </a:lnTo>
                <a:lnTo>
                  <a:pt x="2698487" y="3095754"/>
                </a:lnTo>
                <a:lnTo>
                  <a:pt x="2733718" y="3124564"/>
                </a:lnTo>
                <a:lnTo>
                  <a:pt x="2770700" y="3151541"/>
                </a:lnTo>
                <a:lnTo>
                  <a:pt x="2809664" y="3176402"/>
                </a:lnTo>
                <a:lnTo>
                  <a:pt x="2850844" y="3198864"/>
                </a:lnTo>
                <a:lnTo>
                  <a:pt x="2894472" y="3218646"/>
                </a:lnTo>
                <a:lnTo>
                  <a:pt x="2940779" y="3235464"/>
                </a:lnTo>
                <a:lnTo>
                  <a:pt x="2971083" y="3243821"/>
                </a:lnTo>
                <a:lnTo>
                  <a:pt x="3343973" y="3243821"/>
                </a:lnTo>
                <a:lnTo>
                  <a:pt x="3421097" y="3218462"/>
                </a:lnTo>
                <a:lnTo>
                  <a:pt x="3464846" y="3198603"/>
                </a:lnTo>
                <a:lnTo>
                  <a:pt x="3506146" y="3176050"/>
                </a:lnTo>
                <a:lnTo>
                  <a:pt x="3545231" y="3151087"/>
                </a:lnTo>
                <a:lnTo>
                  <a:pt x="3582334" y="3123996"/>
                </a:lnTo>
                <a:lnTo>
                  <a:pt x="3617688" y="3095061"/>
                </a:lnTo>
                <a:lnTo>
                  <a:pt x="3651528" y="3064564"/>
                </a:lnTo>
                <a:lnTo>
                  <a:pt x="3684086" y="3032789"/>
                </a:lnTo>
                <a:lnTo>
                  <a:pt x="3715596" y="3000017"/>
                </a:lnTo>
                <a:lnTo>
                  <a:pt x="3746291" y="2966533"/>
                </a:lnTo>
                <a:lnTo>
                  <a:pt x="3776402" y="2932619"/>
                </a:lnTo>
                <a:lnTo>
                  <a:pt x="3803433" y="2901683"/>
                </a:lnTo>
                <a:lnTo>
                  <a:pt x="3157447" y="2901683"/>
                </a:lnTo>
                <a:lnTo>
                  <a:pt x="3109049" y="2899043"/>
                </a:lnTo>
                <a:lnTo>
                  <a:pt x="3065808" y="2890986"/>
                </a:lnTo>
                <a:lnTo>
                  <a:pt x="3026109" y="2877185"/>
                </a:lnTo>
                <a:lnTo>
                  <a:pt x="2988755" y="2857461"/>
                </a:lnTo>
                <a:lnTo>
                  <a:pt x="2952197" y="2831467"/>
                </a:lnTo>
                <a:lnTo>
                  <a:pt x="2915083" y="2798960"/>
                </a:lnTo>
                <a:lnTo>
                  <a:pt x="2876014" y="2759670"/>
                </a:lnTo>
                <a:lnTo>
                  <a:pt x="2833587" y="2713331"/>
                </a:lnTo>
                <a:lnTo>
                  <a:pt x="2786403" y="2659672"/>
                </a:lnTo>
                <a:lnTo>
                  <a:pt x="2761698" y="2631079"/>
                </a:lnTo>
                <a:lnTo>
                  <a:pt x="2736032" y="2601719"/>
                </a:lnTo>
                <a:lnTo>
                  <a:pt x="2709300" y="2571812"/>
                </a:lnTo>
                <a:lnTo>
                  <a:pt x="2697284" y="2558795"/>
                </a:lnTo>
                <a:close/>
              </a:path>
              <a:path w="4791075" h="3244215">
                <a:moveTo>
                  <a:pt x="1924378" y="2193023"/>
                </a:moveTo>
                <a:lnTo>
                  <a:pt x="1860261" y="2194821"/>
                </a:lnTo>
                <a:lnTo>
                  <a:pt x="1799122" y="2200066"/>
                </a:lnTo>
                <a:lnTo>
                  <a:pt x="1740857" y="2208537"/>
                </a:lnTo>
                <a:lnTo>
                  <a:pt x="1685360" y="2220012"/>
                </a:lnTo>
                <a:lnTo>
                  <a:pt x="1632523" y="2234269"/>
                </a:lnTo>
                <a:lnTo>
                  <a:pt x="1582241" y="2251086"/>
                </a:lnTo>
                <a:lnTo>
                  <a:pt x="1534407" y="2270242"/>
                </a:lnTo>
                <a:lnTo>
                  <a:pt x="1488917" y="2291513"/>
                </a:lnTo>
                <a:lnTo>
                  <a:pt x="1445662" y="2314679"/>
                </a:lnTo>
                <a:lnTo>
                  <a:pt x="1404539" y="2339518"/>
                </a:lnTo>
                <a:lnTo>
                  <a:pt x="1365439" y="2365807"/>
                </a:lnTo>
                <a:lnTo>
                  <a:pt x="1328257" y="2393325"/>
                </a:lnTo>
                <a:lnTo>
                  <a:pt x="1292887" y="2421850"/>
                </a:lnTo>
                <a:lnTo>
                  <a:pt x="1259222" y="2451160"/>
                </a:lnTo>
                <a:lnTo>
                  <a:pt x="1227292" y="2480899"/>
                </a:lnTo>
                <a:lnTo>
                  <a:pt x="1196740" y="2511085"/>
                </a:lnTo>
                <a:lnTo>
                  <a:pt x="1167576" y="2541386"/>
                </a:lnTo>
                <a:lnTo>
                  <a:pt x="1139694" y="2571580"/>
                </a:lnTo>
                <a:lnTo>
                  <a:pt x="1112989" y="2601446"/>
                </a:lnTo>
                <a:lnTo>
                  <a:pt x="1087354" y="2630761"/>
                </a:lnTo>
                <a:lnTo>
                  <a:pt x="1062683" y="2659303"/>
                </a:lnTo>
                <a:lnTo>
                  <a:pt x="1016654" y="2711881"/>
                </a:lnTo>
                <a:lnTo>
                  <a:pt x="974861" y="2757674"/>
                </a:lnTo>
                <a:lnTo>
                  <a:pt x="935999" y="2796841"/>
                </a:lnTo>
                <a:lnTo>
                  <a:pt x="898751" y="2829553"/>
                </a:lnTo>
                <a:lnTo>
                  <a:pt x="861854" y="2855941"/>
                </a:lnTo>
                <a:lnTo>
                  <a:pt x="823963" y="2876193"/>
                </a:lnTo>
                <a:lnTo>
                  <a:pt x="783786" y="2890461"/>
                </a:lnTo>
                <a:lnTo>
                  <a:pt x="740020" y="2898904"/>
                </a:lnTo>
                <a:lnTo>
                  <a:pt x="691361" y="2901683"/>
                </a:lnTo>
                <a:lnTo>
                  <a:pt x="1336624" y="2901683"/>
                </a:lnTo>
                <a:lnTo>
                  <a:pt x="1369429" y="2863776"/>
                </a:lnTo>
                <a:lnTo>
                  <a:pt x="1399564" y="2829541"/>
                </a:lnTo>
                <a:lnTo>
                  <a:pt x="1430038" y="2796117"/>
                </a:lnTo>
                <a:lnTo>
                  <a:pt x="1461132" y="2763780"/>
                </a:lnTo>
                <a:lnTo>
                  <a:pt x="1493127" y="2732806"/>
                </a:lnTo>
                <a:lnTo>
                  <a:pt x="1526303" y="2703472"/>
                </a:lnTo>
                <a:lnTo>
                  <a:pt x="1560941" y="2676053"/>
                </a:lnTo>
                <a:lnTo>
                  <a:pt x="1597321" y="2650826"/>
                </a:lnTo>
                <a:lnTo>
                  <a:pt x="1635726" y="2628066"/>
                </a:lnTo>
                <a:lnTo>
                  <a:pt x="1676435" y="2608051"/>
                </a:lnTo>
                <a:lnTo>
                  <a:pt x="1719730" y="2591055"/>
                </a:lnTo>
                <a:lnTo>
                  <a:pt x="1765891" y="2577356"/>
                </a:lnTo>
                <a:lnTo>
                  <a:pt x="1815199" y="2567229"/>
                </a:lnTo>
                <a:lnTo>
                  <a:pt x="1867936" y="2560950"/>
                </a:lnTo>
                <a:lnTo>
                  <a:pt x="1924378" y="2558795"/>
                </a:lnTo>
                <a:lnTo>
                  <a:pt x="2697284" y="2558795"/>
                </a:lnTo>
                <a:lnTo>
                  <a:pt x="2681394" y="2541581"/>
                </a:lnTo>
                <a:lnTo>
                  <a:pt x="2652209" y="2511248"/>
                </a:lnTo>
                <a:lnTo>
                  <a:pt x="2621638" y="2481033"/>
                </a:lnTo>
                <a:lnTo>
                  <a:pt x="2589332" y="2450949"/>
                </a:lnTo>
                <a:lnTo>
                  <a:pt x="2555702" y="2421682"/>
                </a:lnTo>
                <a:lnTo>
                  <a:pt x="2520364" y="2393193"/>
                </a:lnTo>
                <a:lnTo>
                  <a:pt x="2483212" y="2365705"/>
                </a:lnTo>
                <a:lnTo>
                  <a:pt x="2444139" y="2339441"/>
                </a:lnTo>
                <a:lnTo>
                  <a:pt x="2403039" y="2314623"/>
                </a:lnTo>
                <a:lnTo>
                  <a:pt x="2359806" y="2291474"/>
                </a:lnTo>
                <a:lnTo>
                  <a:pt x="2314334" y="2270215"/>
                </a:lnTo>
                <a:lnTo>
                  <a:pt x="2266516" y="2251070"/>
                </a:lnTo>
                <a:lnTo>
                  <a:pt x="2216245" y="2234260"/>
                </a:lnTo>
                <a:lnTo>
                  <a:pt x="2163415" y="2220007"/>
                </a:lnTo>
                <a:lnTo>
                  <a:pt x="2107920" y="2208535"/>
                </a:lnTo>
                <a:lnTo>
                  <a:pt x="2049653" y="2200065"/>
                </a:lnTo>
                <a:lnTo>
                  <a:pt x="1988508" y="2194821"/>
                </a:lnTo>
                <a:lnTo>
                  <a:pt x="1924378" y="2193023"/>
                </a:lnTo>
                <a:close/>
              </a:path>
              <a:path w="4791075" h="3244215">
                <a:moveTo>
                  <a:pt x="4391201" y="2193023"/>
                </a:moveTo>
                <a:lnTo>
                  <a:pt x="4327083" y="2194821"/>
                </a:lnTo>
                <a:lnTo>
                  <a:pt x="4265943" y="2200066"/>
                </a:lnTo>
                <a:lnTo>
                  <a:pt x="4207675" y="2208537"/>
                </a:lnTo>
                <a:lnTo>
                  <a:pt x="4152174" y="2220012"/>
                </a:lnTo>
                <a:lnTo>
                  <a:pt x="4099334" y="2234269"/>
                </a:lnTo>
                <a:lnTo>
                  <a:pt x="4049048" y="2251086"/>
                </a:lnTo>
                <a:lnTo>
                  <a:pt x="4001211" y="2270242"/>
                </a:lnTo>
                <a:lnTo>
                  <a:pt x="3955717" y="2291513"/>
                </a:lnTo>
                <a:lnTo>
                  <a:pt x="3912460" y="2314679"/>
                </a:lnTo>
                <a:lnTo>
                  <a:pt x="3871334" y="2339518"/>
                </a:lnTo>
                <a:lnTo>
                  <a:pt x="3832234" y="2365807"/>
                </a:lnTo>
                <a:lnTo>
                  <a:pt x="3795052" y="2393325"/>
                </a:lnTo>
                <a:lnTo>
                  <a:pt x="3759683" y="2421850"/>
                </a:lnTo>
                <a:lnTo>
                  <a:pt x="3726020" y="2451160"/>
                </a:lnTo>
                <a:lnTo>
                  <a:pt x="3694094" y="2480899"/>
                </a:lnTo>
                <a:lnTo>
                  <a:pt x="3663692" y="2510933"/>
                </a:lnTo>
                <a:lnTo>
                  <a:pt x="3634555" y="2541204"/>
                </a:lnTo>
                <a:lnTo>
                  <a:pt x="3606705" y="2571364"/>
                </a:lnTo>
                <a:lnTo>
                  <a:pt x="3580034" y="2601192"/>
                </a:lnTo>
                <a:lnTo>
                  <a:pt x="3554438" y="2630465"/>
                </a:lnTo>
                <a:lnTo>
                  <a:pt x="3529811" y="2658960"/>
                </a:lnTo>
                <a:lnTo>
                  <a:pt x="3482435" y="2712831"/>
                </a:lnTo>
                <a:lnTo>
                  <a:pt x="3439844" y="2759336"/>
                </a:lnTo>
                <a:lnTo>
                  <a:pt x="3400765" y="2798625"/>
                </a:lnTo>
                <a:lnTo>
                  <a:pt x="3363527" y="2831230"/>
                </a:lnTo>
                <a:lnTo>
                  <a:pt x="3326835" y="2857307"/>
                </a:lnTo>
                <a:lnTo>
                  <a:pt x="3289286" y="2877123"/>
                </a:lnTo>
                <a:lnTo>
                  <a:pt x="3249474" y="2890946"/>
                </a:lnTo>
                <a:lnTo>
                  <a:pt x="3205996" y="2899043"/>
                </a:lnTo>
                <a:lnTo>
                  <a:pt x="3157447" y="2901683"/>
                </a:lnTo>
                <a:lnTo>
                  <a:pt x="3803433" y="2901683"/>
                </a:lnTo>
                <a:lnTo>
                  <a:pt x="3806173" y="2898546"/>
                </a:lnTo>
                <a:lnTo>
                  <a:pt x="3836253" y="2863776"/>
                </a:lnTo>
                <a:lnTo>
                  <a:pt x="3866391" y="2829541"/>
                </a:lnTo>
                <a:lnTo>
                  <a:pt x="3896867" y="2796117"/>
                </a:lnTo>
                <a:lnTo>
                  <a:pt x="3927962" y="2763780"/>
                </a:lnTo>
                <a:lnTo>
                  <a:pt x="3959958" y="2732806"/>
                </a:lnTo>
                <a:lnTo>
                  <a:pt x="3993134" y="2703472"/>
                </a:lnTo>
                <a:lnTo>
                  <a:pt x="4027773" y="2676053"/>
                </a:lnTo>
                <a:lnTo>
                  <a:pt x="4064154" y="2650826"/>
                </a:lnTo>
                <a:lnTo>
                  <a:pt x="4102558" y="2628066"/>
                </a:lnTo>
                <a:lnTo>
                  <a:pt x="4143267" y="2608051"/>
                </a:lnTo>
                <a:lnTo>
                  <a:pt x="4186560" y="2591055"/>
                </a:lnTo>
                <a:lnTo>
                  <a:pt x="4232720" y="2577356"/>
                </a:lnTo>
                <a:lnTo>
                  <a:pt x="4282026" y="2567229"/>
                </a:lnTo>
                <a:lnTo>
                  <a:pt x="4334761" y="2560950"/>
                </a:lnTo>
                <a:lnTo>
                  <a:pt x="4391201" y="2558795"/>
                </a:lnTo>
                <a:lnTo>
                  <a:pt x="4790792" y="2558795"/>
                </a:lnTo>
                <a:lnTo>
                  <a:pt x="4790792" y="2274715"/>
                </a:lnTo>
                <a:lnTo>
                  <a:pt x="4733341" y="2251070"/>
                </a:lnTo>
                <a:lnTo>
                  <a:pt x="4683069" y="2234260"/>
                </a:lnTo>
                <a:lnTo>
                  <a:pt x="4630239" y="2220007"/>
                </a:lnTo>
                <a:lnTo>
                  <a:pt x="4574744" y="2208535"/>
                </a:lnTo>
                <a:lnTo>
                  <a:pt x="4516476" y="2200065"/>
                </a:lnTo>
                <a:lnTo>
                  <a:pt x="4455330" y="2194821"/>
                </a:lnTo>
                <a:lnTo>
                  <a:pt x="4391201" y="2193023"/>
                </a:lnTo>
                <a:close/>
              </a:path>
              <a:path w="4791075" h="3244215">
                <a:moveTo>
                  <a:pt x="4790792" y="2558795"/>
                </a:moveTo>
                <a:lnTo>
                  <a:pt x="4391201" y="2558795"/>
                </a:lnTo>
                <a:lnTo>
                  <a:pt x="4447665" y="2560950"/>
                </a:lnTo>
                <a:lnTo>
                  <a:pt x="4500417" y="2567229"/>
                </a:lnTo>
                <a:lnTo>
                  <a:pt x="4549738" y="2577357"/>
                </a:lnTo>
                <a:lnTo>
                  <a:pt x="4595908" y="2591057"/>
                </a:lnTo>
                <a:lnTo>
                  <a:pt x="4639209" y="2608054"/>
                </a:lnTo>
                <a:lnTo>
                  <a:pt x="4679922" y="2628071"/>
                </a:lnTo>
                <a:lnTo>
                  <a:pt x="4718328" y="2650832"/>
                </a:lnTo>
                <a:lnTo>
                  <a:pt x="4754708" y="2676060"/>
                </a:lnTo>
                <a:lnTo>
                  <a:pt x="4789343" y="2703480"/>
                </a:lnTo>
                <a:lnTo>
                  <a:pt x="4790792" y="2704761"/>
                </a:lnTo>
                <a:lnTo>
                  <a:pt x="4790792" y="2558795"/>
                </a:lnTo>
                <a:close/>
              </a:path>
              <a:path w="4791075" h="3244215">
                <a:moveTo>
                  <a:pt x="240321" y="1473199"/>
                </a:moveTo>
                <a:lnTo>
                  <a:pt x="147956" y="1473199"/>
                </a:lnTo>
                <a:lnTo>
                  <a:pt x="102992" y="1485899"/>
                </a:lnTo>
                <a:lnTo>
                  <a:pt x="62088" y="1511299"/>
                </a:lnTo>
                <a:lnTo>
                  <a:pt x="29762" y="1549399"/>
                </a:lnTo>
                <a:lnTo>
                  <a:pt x="9016" y="1587499"/>
                </a:lnTo>
                <a:lnTo>
                  <a:pt x="0" y="1638299"/>
                </a:lnTo>
                <a:lnTo>
                  <a:pt x="2858" y="1689099"/>
                </a:lnTo>
                <a:lnTo>
                  <a:pt x="17740" y="1727199"/>
                </a:lnTo>
                <a:lnTo>
                  <a:pt x="44791" y="1777999"/>
                </a:lnTo>
                <a:lnTo>
                  <a:pt x="74391" y="1803399"/>
                </a:lnTo>
                <a:lnTo>
                  <a:pt x="104350" y="1841499"/>
                </a:lnTo>
                <a:lnTo>
                  <a:pt x="134899" y="1879599"/>
                </a:lnTo>
                <a:lnTo>
                  <a:pt x="166270" y="1904999"/>
                </a:lnTo>
                <a:lnTo>
                  <a:pt x="198695" y="1943099"/>
                </a:lnTo>
                <a:lnTo>
                  <a:pt x="232408" y="1968499"/>
                </a:lnTo>
                <a:lnTo>
                  <a:pt x="267638" y="1993899"/>
                </a:lnTo>
                <a:lnTo>
                  <a:pt x="304620" y="2019299"/>
                </a:lnTo>
                <a:lnTo>
                  <a:pt x="343585" y="2044699"/>
                </a:lnTo>
                <a:lnTo>
                  <a:pt x="384765" y="2070099"/>
                </a:lnTo>
                <a:lnTo>
                  <a:pt x="428392" y="2095499"/>
                </a:lnTo>
                <a:lnTo>
                  <a:pt x="474698" y="2108199"/>
                </a:lnTo>
                <a:lnTo>
                  <a:pt x="523916" y="2120899"/>
                </a:lnTo>
                <a:lnTo>
                  <a:pt x="576278" y="2133599"/>
                </a:lnTo>
                <a:lnTo>
                  <a:pt x="806952" y="2133599"/>
                </a:lnTo>
                <a:lnTo>
                  <a:pt x="859512" y="2120899"/>
                </a:lnTo>
                <a:lnTo>
                  <a:pt x="908895" y="2108199"/>
                </a:lnTo>
                <a:lnTo>
                  <a:pt x="955336" y="2095499"/>
                </a:lnTo>
                <a:lnTo>
                  <a:pt x="999071" y="2070099"/>
                </a:lnTo>
                <a:lnTo>
                  <a:pt x="1040335" y="2044699"/>
                </a:lnTo>
                <a:lnTo>
                  <a:pt x="1079363" y="2019299"/>
                </a:lnTo>
                <a:lnTo>
                  <a:pt x="1116391" y="1993899"/>
                </a:lnTo>
                <a:lnTo>
                  <a:pt x="1151653" y="1968499"/>
                </a:lnTo>
                <a:lnTo>
                  <a:pt x="1185386" y="1943099"/>
                </a:lnTo>
                <a:lnTo>
                  <a:pt x="1217825" y="1904999"/>
                </a:lnTo>
                <a:lnTo>
                  <a:pt x="1249204" y="1866899"/>
                </a:lnTo>
                <a:lnTo>
                  <a:pt x="1279759" y="1841499"/>
                </a:lnTo>
                <a:lnTo>
                  <a:pt x="1309726" y="1803399"/>
                </a:lnTo>
                <a:lnTo>
                  <a:pt x="1329469" y="1777999"/>
                </a:lnTo>
                <a:lnTo>
                  <a:pt x="691361" y="1777999"/>
                </a:lnTo>
                <a:lnTo>
                  <a:pt x="643020" y="1765299"/>
                </a:lnTo>
                <a:lnTo>
                  <a:pt x="599719" y="1765299"/>
                </a:lnTo>
                <a:lnTo>
                  <a:pt x="560052" y="1752599"/>
                </a:lnTo>
                <a:lnTo>
                  <a:pt x="522616" y="1727199"/>
                </a:lnTo>
                <a:lnTo>
                  <a:pt x="486003" y="1701799"/>
                </a:lnTo>
                <a:lnTo>
                  <a:pt x="448810" y="1676399"/>
                </a:lnTo>
                <a:lnTo>
                  <a:pt x="409631" y="1625599"/>
                </a:lnTo>
                <a:lnTo>
                  <a:pt x="367061" y="1587499"/>
                </a:lnTo>
                <a:lnTo>
                  <a:pt x="319695" y="1536699"/>
                </a:lnTo>
                <a:lnTo>
                  <a:pt x="282850" y="1498599"/>
                </a:lnTo>
                <a:lnTo>
                  <a:pt x="240321" y="1473199"/>
                </a:lnTo>
                <a:close/>
              </a:path>
              <a:path w="4791075" h="3244215">
                <a:moveTo>
                  <a:pt x="2699966" y="1435099"/>
                </a:moveTo>
                <a:lnTo>
                  <a:pt x="2033564" y="1435099"/>
                </a:lnTo>
                <a:lnTo>
                  <a:pt x="2082878" y="1447799"/>
                </a:lnTo>
                <a:lnTo>
                  <a:pt x="2129047" y="1460499"/>
                </a:lnTo>
                <a:lnTo>
                  <a:pt x="2172355" y="1485899"/>
                </a:lnTo>
                <a:lnTo>
                  <a:pt x="2213083" y="1498599"/>
                </a:lnTo>
                <a:lnTo>
                  <a:pt x="2251512" y="1523999"/>
                </a:lnTo>
                <a:lnTo>
                  <a:pt x="2287925" y="1549399"/>
                </a:lnTo>
                <a:lnTo>
                  <a:pt x="2322604" y="1574799"/>
                </a:lnTo>
                <a:lnTo>
                  <a:pt x="2355830" y="1600199"/>
                </a:lnTo>
                <a:lnTo>
                  <a:pt x="2387886" y="1638299"/>
                </a:lnTo>
                <a:lnTo>
                  <a:pt x="2419052" y="1663699"/>
                </a:lnTo>
                <a:lnTo>
                  <a:pt x="2449612" y="1701799"/>
                </a:lnTo>
                <a:lnTo>
                  <a:pt x="2510039" y="1777999"/>
                </a:lnTo>
                <a:lnTo>
                  <a:pt x="2539715" y="1803399"/>
                </a:lnTo>
                <a:lnTo>
                  <a:pt x="2569750" y="1841499"/>
                </a:lnTo>
                <a:lnTo>
                  <a:pt x="2600376" y="1866899"/>
                </a:lnTo>
                <a:lnTo>
                  <a:pt x="2631825" y="1904999"/>
                </a:lnTo>
                <a:lnTo>
                  <a:pt x="2664331" y="1943099"/>
                </a:lnTo>
                <a:lnTo>
                  <a:pt x="2698125" y="1968499"/>
                </a:lnTo>
                <a:lnTo>
                  <a:pt x="2733441" y="1993899"/>
                </a:lnTo>
                <a:lnTo>
                  <a:pt x="2770511" y="2019299"/>
                </a:lnTo>
                <a:lnTo>
                  <a:pt x="2809567" y="2044699"/>
                </a:lnTo>
                <a:lnTo>
                  <a:pt x="2850843" y="2070099"/>
                </a:lnTo>
                <a:lnTo>
                  <a:pt x="2894571" y="2095499"/>
                </a:lnTo>
                <a:lnTo>
                  <a:pt x="2940984" y="2108199"/>
                </a:lnTo>
                <a:lnTo>
                  <a:pt x="2990313" y="2120899"/>
                </a:lnTo>
                <a:lnTo>
                  <a:pt x="3042793" y="2133599"/>
                </a:lnTo>
                <a:lnTo>
                  <a:pt x="3273239" y="2133599"/>
                </a:lnTo>
                <a:lnTo>
                  <a:pt x="3325628" y="2120899"/>
                </a:lnTo>
                <a:lnTo>
                  <a:pt x="3374884" y="2108199"/>
                </a:lnTo>
                <a:lnTo>
                  <a:pt x="3421238" y="2095499"/>
                </a:lnTo>
                <a:lnTo>
                  <a:pt x="3464925" y="2070099"/>
                </a:lnTo>
                <a:lnTo>
                  <a:pt x="3506175" y="2044699"/>
                </a:lnTo>
                <a:lnTo>
                  <a:pt x="3545222" y="2019299"/>
                </a:lnTo>
                <a:lnTo>
                  <a:pt x="3582298" y="1993899"/>
                </a:lnTo>
                <a:lnTo>
                  <a:pt x="3617635" y="1968499"/>
                </a:lnTo>
                <a:lnTo>
                  <a:pt x="3651466" y="1943099"/>
                </a:lnTo>
                <a:lnTo>
                  <a:pt x="3684023" y="1904999"/>
                </a:lnTo>
                <a:lnTo>
                  <a:pt x="3715539" y="1866899"/>
                </a:lnTo>
                <a:lnTo>
                  <a:pt x="3746246" y="1841499"/>
                </a:lnTo>
                <a:lnTo>
                  <a:pt x="3776376" y="1803399"/>
                </a:lnTo>
                <a:lnTo>
                  <a:pt x="3796234" y="1777999"/>
                </a:lnTo>
                <a:lnTo>
                  <a:pt x="3158132" y="1777999"/>
                </a:lnTo>
                <a:lnTo>
                  <a:pt x="3109546" y="1765299"/>
                </a:lnTo>
                <a:lnTo>
                  <a:pt x="3065807" y="1765299"/>
                </a:lnTo>
                <a:lnTo>
                  <a:pt x="3025619" y="1752599"/>
                </a:lnTo>
                <a:lnTo>
                  <a:pt x="2987684" y="1727199"/>
                </a:lnTo>
                <a:lnTo>
                  <a:pt x="2950705" y="1701799"/>
                </a:lnTo>
                <a:lnTo>
                  <a:pt x="2913384" y="1663699"/>
                </a:lnTo>
                <a:lnTo>
                  <a:pt x="2874422" y="1625599"/>
                </a:lnTo>
                <a:lnTo>
                  <a:pt x="2832524" y="1587499"/>
                </a:lnTo>
                <a:lnTo>
                  <a:pt x="2786391" y="1536699"/>
                </a:lnTo>
                <a:lnTo>
                  <a:pt x="2761680" y="1498599"/>
                </a:lnTo>
                <a:lnTo>
                  <a:pt x="2736008" y="1473199"/>
                </a:lnTo>
                <a:lnTo>
                  <a:pt x="2709270" y="1447799"/>
                </a:lnTo>
                <a:lnTo>
                  <a:pt x="2699966" y="1435099"/>
                </a:lnTo>
                <a:close/>
              </a:path>
              <a:path w="4791075" h="3244215">
                <a:moveTo>
                  <a:pt x="2049632" y="1066800"/>
                </a:moveTo>
                <a:lnTo>
                  <a:pt x="1799128" y="1066800"/>
                </a:lnTo>
                <a:lnTo>
                  <a:pt x="1740867" y="1079499"/>
                </a:lnTo>
                <a:lnTo>
                  <a:pt x="1685374" y="1092199"/>
                </a:lnTo>
                <a:lnTo>
                  <a:pt x="1632543" y="1104899"/>
                </a:lnTo>
                <a:lnTo>
                  <a:pt x="1582268" y="1117599"/>
                </a:lnTo>
                <a:lnTo>
                  <a:pt x="1534442" y="1142999"/>
                </a:lnTo>
                <a:lnTo>
                  <a:pt x="1488961" y="1168399"/>
                </a:lnTo>
                <a:lnTo>
                  <a:pt x="1445717" y="1181099"/>
                </a:lnTo>
                <a:lnTo>
                  <a:pt x="1404604" y="1206499"/>
                </a:lnTo>
                <a:lnTo>
                  <a:pt x="1365517" y="1244599"/>
                </a:lnTo>
                <a:lnTo>
                  <a:pt x="1328349" y="1269999"/>
                </a:lnTo>
                <a:lnTo>
                  <a:pt x="1292994" y="1295399"/>
                </a:lnTo>
                <a:lnTo>
                  <a:pt x="1259346" y="1320799"/>
                </a:lnTo>
                <a:lnTo>
                  <a:pt x="1227299" y="1358899"/>
                </a:lnTo>
                <a:lnTo>
                  <a:pt x="1196747" y="1384299"/>
                </a:lnTo>
                <a:lnTo>
                  <a:pt x="1167584" y="1409699"/>
                </a:lnTo>
                <a:lnTo>
                  <a:pt x="1139703" y="1447799"/>
                </a:lnTo>
                <a:lnTo>
                  <a:pt x="1112999" y="1473199"/>
                </a:lnTo>
                <a:lnTo>
                  <a:pt x="1087365" y="1498599"/>
                </a:lnTo>
                <a:lnTo>
                  <a:pt x="1062696" y="1536699"/>
                </a:lnTo>
                <a:lnTo>
                  <a:pt x="1016667" y="1587499"/>
                </a:lnTo>
                <a:lnTo>
                  <a:pt x="974873" y="1625599"/>
                </a:lnTo>
                <a:lnTo>
                  <a:pt x="936011" y="1663699"/>
                </a:lnTo>
                <a:lnTo>
                  <a:pt x="898777" y="1701799"/>
                </a:lnTo>
                <a:lnTo>
                  <a:pt x="861865" y="1727199"/>
                </a:lnTo>
                <a:lnTo>
                  <a:pt x="823972" y="1752599"/>
                </a:lnTo>
                <a:lnTo>
                  <a:pt x="783793" y="1765299"/>
                </a:lnTo>
                <a:lnTo>
                  <a:pt x="740024" y="1765299"/>
                </a:lnTo>
                <a:lnTo>
                  <a:pt x="691361" y="1777999"/>
                </a:lnTo>
                <a:lnTo>
                  <a:pt x="1329469" y="1777999"/>
                </a:lnTo>
                <a:lnTo>
                  <a:pt x="1339340" y="1765299"/>
                </a:lnTo>
                <a:lnTo>
                  <a:pt x="1369418" y="1739899"/>
                </a:lnTo>
                <a:lnTo>
                  <a:pt x="1399554" y="1701799"/>
                </a:lnTo>
                <a:lnTo>
                  <a:pt x="1430029" y="1663699"/>
                </a:lnTo>
                <a:lnTo>
                  <a:pt x="1461124" y="1638299"/>
                </a:lnTo>
                <a:lnTo>
                  <a:pt x="1493119" y="1600199"/>
                </a:lnTo>
                <a:lnTo>
                  <a:pt x="1526296" y="1574799"/>
                </a:lnTo>
                <a:lnTo>
                  <a:pt x="1560935" y="1549399"/>
                </a:lnTo>
                <a:lnTo>
                  <a:pt x="1597317" y="1523999"/>
                </a:lnTo>
                <a:lnTo>
                  <a:pt x="1635723" y="1498599"/>
                </a:lnTo>
                <a:lnTo>
                  <a:pt x="1676433" y="1485899"/>
                </a:lnTo>
                <a:lnTo>
                  <a:pt x="1719728" y="1460499"/>
                </a:lnTo>
                <a:lnTo>
                  <a:pt x="1765890" y="1447799"/>
                </a:lnTo>
                <a:lnTo>
                  <a:pt x="1815198" y="1435099"/>
                </a:lnTo>
                <a:lnTo>
                  <a:pt x="2699966" y="1435099"/>
                </a:lnTo>
                <a:lnTo>
                  <a:pt x="2681358" y="1409699"/>
                </a:lnTo>
                <a:lnTo>
                  <a:pt x="2652168" y="1384299"/>
                </a:lnTo>
                <a:lnTo>
                  <a:pt x="2621591" y="1358899"/>
                </a:lnTo>
                <a:lnTo>
                  <a:pt x="2589522" y="1320799"/>
                </a:lnTo>
                <a:lnTo>
                  <a:pt x="2555855" y="1295399"/>
                </a:lnTo>
                <a:lnTo>
                  <a:pt x="2520484" y="1269999"/>
                </a:lnTo>
                <a:lnTo>
                  <a:pt x="2483301" y="1244599"/>
                </a:lnTo>
                <a:lnTo>
                  <a:pt x="2444202" y="1206499"/>
                </a:lnTo>
                <a:lnTo>
                  <a:pt x="2403079" y="1181099"/>
                </a:lnTo>
                <a:lnTo>
                  <a:pt x="2359826" y="1168399"/>
                </a:lnTo>
                <a:lnTo>
                  <a:pt x="2314337" y="1142999"/>
                </a:lnTo>
                <a:lnTo>
                  <a:pt x="2266506" y="1117599"/>
                </a:lnTo>
                <a:lnTo>
                  <a:pt x="2216226" y="1104899"/>
                </a:lnTo>
                <a:lnTo>
                  <a:pt x="2163392" y="1092199"/>
                </a:lnTo>
                <a:lnTo>
                  <a:pt x="2107896" y="1079499"/>
                </a:lnTo>
                <a:lnTo>
                  <a:pt x="2049632" y="1066800"/>
                </a:lnTo>
                <a:close/>
              </a:path>
              <a:path w="4791075" h="3244215">
                <a:moveTo>
                  <a:pt x="4516455" y="1066800"/>
                </a:moveTo>
                <a:lnTo>
                  <a:pt x="4265951" y="1066800"/>
                </a:lnTo>
                <a:lnTo>
                  <a:pt x="4207690" y="1079499"/>
                </a:lnTo>
                <a:lnTo>
                  <a:pt x="4152199" y="1092199"/>
                </a:lnTo>
                <a:lnTo>
                  <a:pt x="4099370" y="1104899"/>
                </a:lnTo>
                <a:lnTo>
                  <a:pt x="4049098" y="1117599"/>
                </a:lnTo>
                <a:lnTo>
                  <a:pt x="4001276" y="1142999"/>
                </a:lnTo>
                <a:lnTo>
                  <a:pt x="3955800" y="1168399"/>
                </a:lnTo>
                <a:lnTo>
                  <a:pt x="3912563" y="1181099"/>
                </a:lnTo>
                <a:lnTo>
                  <a:pt x="3871460" y="1206499"/>
                </a:lnTo>
                <a:lnTo>
                  <a:pt x="3832383" y="1231899"/>
                </a:lnTo>
                <a:lnTo>
                  <a:pt x="3795228" y="1269999"/>
                </a:lnTo>
                <a:lnTo>
                  <a:pt x="3759889" y="1295399"/>
                </a:lnTo>
                <a:lnTo>
                  <a:pt x="3726259" y="1320799"/>
                </a:lnTo>
                <a:lnTo>
                  <a:pt x="3694233" y="1358899"/>
                </a:lnTo>
                <a:lnTo>
                  <a:pt x="3663704" y="1384299"/>
                </a:lnTo>
                <a:lnTo>
                  <a:pt x="3634568" y="1409699"/>
                </a:lnTo>
                <a:lnTo>
                  <a:pt x="3606717" y="1447799"/>
                </a:lnTo>
                <a:lnTo>
                  <a:pt x="3580047" y="1473199"/>
                </a:lnTo>
                <a:lnTo>
                  <a:pt x="3554451" y="1498599"/>
                </a:lnTo>
                <a:lnTo>
                  <a:pt x="3529823" y="1536699"/>
                </a:lnTo>
                <a:lnTo>
                  <a:pt x="3482517" y="1587499"/>
                </a:lnTo>
                <a:lnTo>
                  <a:pt x="3439979" y="1625599"/>
                </a:lnTo>
                <a:lnTo>
                  <a:pt x="3400809" y="1676399"/>
                </a:lnTo>
                <a:lnTo>
                  <a:pt x="3363607" y="1701799"/>
                </a:lnTo>
                <a:lnTo>
                  <a:pt x="3326973" y="1727199"/>
                </a:lnTo>
                <a:lnTo>
                  <a:pt x="3289509" y="1752599"/>
                </a:lnTo>
                <a:lnTo>
                  <a:pt x="3249814" y="1765299"/>
                </a:lnTo>
                <a:lnTo>
                  <a:pt x="3206488" y="1765299"/>
                </a:lnTo>
                <a:lnTo>
                  <a:pt x="3158132" y="1777999"/>
                </a:lnTo>
                <a:lnTo>
                  <a:pt x="3796234" y="1777999"/>
                </a:lnTo>
                <a:lnTo>
                  <a:pt x="3806163" y="1765299"/>
                </a:lnTo>
                <a:lnTo>
                  <a:pt x="3836243" y="1739899"/>
                </a:lnTo>
                <a:lnTo>
                  <a:pt x="3866381" y="1701799"/>
                </a:lnTo>
                <a:lnTo>
                  <a:pt x="3896857" y="1663699"/>
                </a:lnTo>
                <a:lnTo>
                  <a:pt x="3927954" y="1638299"/>
                </a:lnTo>
                <a:lnTo>
                  <a:pt x="3959950" y="1600199"/>
                </a:lnTo>
                <a:lnTo>
                  <a:pt x="3993128" y="1574799"/>
                </a:lnTo>
                <a:lnTo>
                  <a:pt x="4027767" y="1549399"/>
                </a:lnTo>
                <a:lnTo>
                  <a:pt x="4064149" y="1523999"/>
                </a:lnTo>
                <a:lnTo>
                  <a:pt x="4102554" y="1498599"/>
                </a:lnTo>
                <a:lnTo>
                  <a:pt x="4143264" y="1485899"/>
                </a:lnTo>
                <a:lnTo>
                  <a:pt x="4186558" y="1460499"/>
                </a:lnTo>
                <a:lnTo>
                  <a:pt x="4232718" y="1447799"/>
                </a:lnTo>
                <a:lnTo>
                  <a:pt x="4282025" y="1435099"/>
                </a:lnTo>
                <a:lnTo>
                  <a:pt x="4790792" y="1435099"/>
                </a:lnTo>
                <a:lnTo>
                  <a:pt x="4790792" y="1142999"/>
                </a:lnTo>
                <a:lnTo>
                  <a:pt x="4781160" y="1142999"/>
                </a:lnTo>
                <a:lnTo>
                  <a:pt x="4733329" y="1117599"/>
                </a:lnTo>
                <a:lnTo>
                  <a:pt x="4683049" y="1104899"/>
                </a:lnTo>
                <a:lnTo>
                  <a:pt x="4630214" y="1092199"/>
                </a:lnTo>
                <a:lnTo>
                  <a:pt x="4574718" y="1079499"/>
                </a:lnTo>
                <a:lnTo>
                  <a:pt x="4516455" y="1066800"/>
                </a:lnTo>
                <a:close/>
              </a:path>
              <a:path w="4791075" h="3244215">
                <a:moveTo>
                  <a:pt x="4790792" y="1435099"/>
                </a:moveTo>
                <a:lnTo>
                  <a:pt x="4500385" y="1435099"/>
                </a:lnTo>
                <a:lnTo>
                  <a:pt x="4549695" y="1447799"/>
                </a:lnTo>
                <a:lnTo>
                  <a:pt x="4595858" y="1460499"/>
                </a:lnTo>
                <a:lnTo>
                  <a:pt x="4639155" y="1485899"/>
                </a:lnTo>
                <a:lnTo>
                  <a:pt x="4679866" y="1498599"/>
                </a:lnTo>
                <a:lnTo>
                  <a:pt x="4718273" y="1523999"/>
                </a:lnTo>
                <a:lnTo>
                  <a:pt x="4754655" y="1549399"/>
                </a:lnTo>
                <a:lnTo>
                  <a:pt x="4789295" y="1574799"/>
                </a:lnTo>
                <a:lnTo>
                  <a:pt x="4790792" y="1574799"/>
                </a:lnTo>
                <a:lnTo>
                  <a:pt x="4790792" y="1435099"/>
                </a:lnTo>
                <a:close/>
              </a:path>
              <a:path w="4791075" h="3244215">
                <a:moveTo>
                  <a:pt x="194544" y="406400"/>
                </a:moveTo>
                <a:lnTo>
                  <a:pt x="147956" y="406400"/>
                </a:lnTo>
                <a:lnTo>
                  <a:pt x="102992" y="419100"/>
                </a:lnTo>
                <a:lnTo>
                  <a:pt x="62088" y="457200"/>
                </a:lnTo>
                <a:lnTo>
                  <a:pt x="29762" y="482600"/>
                </a:lnTo>
                <a:lnTo>
                  <a:pt x="9016" y="533400"/>
                </a:lnTo>
                <a:lnTo>
                  <a:pt x="0" y="571500"/>
                </a:lnTo>
                <a:lnTo>
                  <a:pt x="2858" y="622300"/>
                </a:lnTo>
                <a:lnTo>
                  <a:pt x="17740" y="673100"/>
                </a:lnTo>
                <a:lnTo>
                  <a:pt x="44791" y="711200"/>
                </a:lnTo>
                <a:lnTo>
                  <a:pt x="74391" y="749300"/>
                </a:lnTo>
                <a:lnTo>
                  <a:pt x="104350" y="774700"/>
                </a:lnTo>
                <a:lnTo>
                  <a:pt x="134899" y="812800"/>
                </a:lnTo>
                <a:lnTo>
                  <a:pt x="166270" y="838200"/>
                </a:lnTo>
                <a:lnTo>
                  <a:pt x="198695" y="876300"/>
                </a:lnTo>
                <a:lnTo>
                  <a:pt x="232408" y="901700"/>
                </a:lnTo>
                <a:lnTo>
                  <a:pt x="267638" y="939800"/>
                </a:lnTo>
                <a:lnTo>
                  <a:pt x="304620" y="965200"/>
                </a:lnTo>
                <a:lnTo>
                  <a:pt x="343585" y="990600"/>
                </a:lnTo>
                <a:lnTo>
                  <a:pt x="384765" y="1003300"/>
                </a:lnTo>
                <a:lnTo>
                  <a:pt x="428392" y="1028700"/>
                </a:lnTo>
                <a:lnTo>
                  <a:pt x="474698" y="1041400"/>
                </a:lnTo>
                <a:lnTo>
                  <a:pt x="523916" y="1054100"/>
                </a:lnTo>
                <a:lnTo>
                  <a:pt x="576278" y="1066800"/>
                </a:lnTo>
                <a:lnTo>
                  <a:pt x="632015" y="1079499"/>
                </a:lnTo>
                <a:lnTo>
                  <a:pt x="750980" y="1079499"/>
                </a:lnTo>
                <a:lnTo>
                  <a:pt x="806952" y="1066800"/>
                </a:lnTo>
                <a:lnTo>
                  <a:pt x="859512" y="1054100"/>
                </a:lnTo>
                <a:lnTo>
                  <a:pt x="908895" y="1041400"/>
                </a:lnTo>
                <a:lnTo>
                  <a:pt x="955336" y="1028700"/>
                </a:lnTo>
                <a:lnTo>
                  <a:pt x="999071" y="1003300"/>
                </a:lnTo>
                <a:lnTo>
                  <a:pt x="1040335" y="990600"/>
                </a:lnTo>
                <a:lnTo>
                  <a:pt x="1079363" y="965200"/>
                </a:lnTo>
                <a:lnTo>
                  <a:pt x="1116391" y="939800"/>
                </a:lnTo>
                <a:lnTo>
                  <a:pt x="1151653" y="901700"/>
                </a:lnTo>
                <a:lnTo>
                  <a:pt x="1185386" y="876300"/>
                </a:lnTo>
                <a:lnTo>
                  <a:pt x="1217825" y="838200"/>
                </a:lnTo>
                <a:lnTo>
                  <a:pt x="1249204" y="812800"/>
                </a:lnTo>
                <a:lnTo>
                  <a:pt x="1279759" y="774700"/>
                </a:lnTo>
                <a:lnTo>
                  <a:pt x="1309726" y="736600"/>
                </a:lnTo>
                <a:lnTo>
                  <a:pt x="1339340" y="711200"/>
                </a:lnTo>
                <a:lnTo>
                  <a:pt x="643020" y="711200"/>
                </a:lnTo>
                <a:lnTo>
                  <a:pt x="599719" y="698500"/>
                </a:lnTo>
                <a:lnTo>
                  <a:pt x="560052" y="685800"/>
                </a:lnTo>
                <a:lnTo>
                  <a:pt x="522616" y="673100"/>
                </a:lnTo>
                <a:lnTo>
                  <a:pt x="486003" y="635000"/>
                </a:lnTo>
                <a:lnTo>
                  <a:pt x="448810" y="609600"/>
                </a:lnTo>
                <a:lnTo>
                  <a:pt x="409631" y="571500"/>
                </a:lnTo>
                <a:lnTo>
                  <a:pt x="367061" y="520700"/>
                </a:lnTo>
                <a:lnTo>
                  <a:pt x="319695" y="469900"/>
                </a:lnTo>
                <a:lnTo>
                  <a:pt x="282850" y="431800"/>
                </a:lnTo>
                <a:lnTo>
                  <a:pt x="240321" y="419100"/>
                </a:lnTo>
                <a:lnTo>
                  <a:pt x="194544" y="406400"/>
                </a:lnTo>
                <a:close/>
              </a:path>
              <a:path w="4791075" h="3244215">
                <a:moveTo>
                  <a:pt x="2695314" y="368300"/>
                </a:moveTo>
                <a:lnTo>
                  <a:pt x="1980825" y="368300"/>
                </a:lnTo>
                <a:lnTo>
                  <a:pt x="2033563" y="381000"/>
                </a:lnTo>
                <a:lnTo>
                  <a:pt x="2082873" y="381000"/>
                </a:lnTo>
                <a:lnTo>
                  <a:pt x="2129036" y="406400"/>
                </a:lnTo>
                <a:lnTo>
                  <a:pt x="2172332" y="419100"/>
                </a:lnTo>
                <a:lnTo>
                  <a:pt x="2213044" y="431800"/>
                </a:lnTo>
                <a:lnTo>
                  <a:pt x="2251450" y="457200"/>
                </a:lnTo>
                <a:lnTo>
                  <a:pt x="2287833" y="482600"/>
                </a:lnTo>
                <a:lnTo>
                  <a:pt x="2322472" y="508000"/>
                </a:lnTo>
                <a:lnTo>
                  <a:pt x="2355649" y="546100"/>
                </a:lnTo>
                <a:lnTo>
                  <a:pt x="2387645" y="571500"/>
                </a:lnTo>
                <a:lnTo>
                  <a:pt x="2418740" y="609600"/>
                </a:lnTo>
                <a:lnTo>
                  <a:pt x="2449215" y="635000"/>
                </a:lnTo>
                <a:lnTo>
                  <a:pt x="2509429" y="711200"/>
                </a:lnTo>
                <a:lnTo>
                  <a:pt x="2540467" y="749300"/>
                </a:lnTo>
                <a:lnTo>
                  <a:pt x="2570427" y="774700"/>
                </a:lnTo>
                <a:lnTo>
                  <a:pt x="2600978" y="812800"/>
                </a:lnTo>
                <a:lnTo>
                  <a:pt x="2632351" y="838200"/>
                </a:lnTo>
                <a:lnTo>
                  <a:pt x="2664777" y="876300"/>
                </a:lnTo>
                <a:lnTo>
                  <a:pt x="2698490" y="901700"/>
                </a:lnTo>
                <a:lnTo>
                  <a:pt x="2733722" y="939800"/>
                </a:lnTo>
                <a:lnTo>
                  <a:pt x="2770705" y="965200"/>
                </a:lnTo>
                <a:lnTo>
                  <a:pt x="2809670" y="990600"/>
                </a:lnTo>
                <a:lnTo>
                  <a:pt x="2850850" y="1003300"/>
                </a:lnTo>
                <a:lnTo>
                  <a:pt x="2894477" y="1028700"/>
                </a:lnTo>
                <a:lnTo>
                  <a:pt x="2940784" y="1041400"/>
                </a:lnTo>
                <a:lnTo>
                  <a:pt x="2990002" y="1054100"/>
                </a:lnTo>
                <a:lnTo>
                  <a:pt x="3042364" y="1066800"/>
                </a:lnTo>
                <a:lnTo>
                  <a:pt x="3098101" y="1079499"/>
                </a:lnTo>
                <a:lnTo>
                  <a:pt x="3216920" y="1079499"/>
                </a:lnTo>
                <a:lnTo>
                  <a:pt x="3272780" y="1066800"/>
                </a:lnTo>
                <a:lnTo>
                  <a:pt x="3325260" y="1054100"/>
                </a:lnTo>
                <a:lnTo>
                  <a:pt x="3374594" y="1041400"/>
                </a:lnTo>
                <a:lnTo>
                  <a:pt x="3421015" y="1028700"/>
                </a:lnTo>
                <a:lnTo>
                  <a:pt x="3464757" y="1003300"/>
                </a:lnTo>
                <a:lnTo>
                  <a:pt x="3506053" y="990600"/>
                </a:lnTo>
                <a:lnTo>
                  <a:pt x="3545136" y="965200"/>
                </a:lnTo>
                <a:lnTo>
                  <a:pt x="3582240" y="939800"/>
                </a:lnTo>
                <a:lnTo>
                  <a:pt x="3617599" y="901700"/>
                </a:lnTo>
                <a:lnTo>
                  <a:pt x="3651445" y="876300"/>
                </a:lnTo>
                <a:lnTo>
                  <a:pt x="3684012" y="838200"/>
                </a:lnTo>
                <a:lnTo>
                  <a:pt x="3715534" y="812800"/>
                </a:lnTo>
                <a:lnTo>
                  <a:pt x="3746244" y="774700"/>
                </a:lnTo>
                <a:lnTo>
                  <a:pt x="3776376" y="736600"/>
                </a:lnTo>
                <a:lnTo>
                  <a:pt x="3806163" y="711200"/>
                </a:lnTo>
                <a:lnTo>
                  <a:pt x="3109103" y="711200"/>
                </a:lnTo>
                <a:lnTo>
                  <a:pt x="3065806" y="698500"/>
                </a:lnTo>
                <a:lnTo>
                  <a:pt x="3026155" y="685800"/>
                </a:lnTo>
                <a:lnTo>
                  <a:pt x="2988750" y="673100"/>
                </a:lnTo>
                <a:lnTo>
                  <a:pt x="2952190" y="635000"/>
                </a:lnTo>
                <a:lnTo>
                  <a:pt x="2915074" y="609600"/>
                </a:lnTo>
                <a:lnTo>
                  <a:pt x="2876003" y="571500"/>
                </a:lnTo>
                <a:lnTo>
                  <a:pt x="2833575" y="520700"/>
                </a:lnTo>
                <a:lnTo>
                  <a:pt x="2786391" y="469900"/>
                </a:lnTo>
                <a:lnTo>
                  <a:pt x="2761680" y="444500"/>
                </a:lnTo>
                <a:lnTo>
                  <a:pt x="2736008" y="406400"/>
                </a:lnTo>
                <a:lnTo>
                  <a:pt x="2709270" y="381000"/>
                </a:lnTo>
                <a:lnTo>
                  <a:pt x="2695314" y="368300"/>
                </a:lnTo>
                <a:close/>
              </a:path>
              <a:path w="4791075" h="3244215">
                <a:moveTo>
                  <a:pt x="2107896" y="12700"/>
                </a:moveTo>
                <a:lnTo>
                  <a:pt x="1740867" y="12700"/>
                </a:lnTo>
                <a:lnTo>
                  <a:pt x="1685374" y="25400"/>
                </a:lnTo>
                <a:lnTo>
                  <a:pt x="1632543" y="38100"/>
                </a:lnTo>
                <a:lnTo>
                  <a:pt x="1582268" y="63500"/>
                </a:lnTo>
                <a:lnTo>
                  <a:pt x="1534442" y="76200"/>
                </a:lnTo>
                <a:lnTo>
                  <a:pt x="1488961" y="101600"/>
                </a:lnTo>
                <a:lnTo>
                  <a:pt x="1445717" y="127000"/>
                </a:lnTo>
                <a:lnTo>
                  <a:pt x="1404604" y="152400"/>
                </a:lnTo>
                <a:lnTo>
                  <a:pt x="1365517" y="177800"/>
                </a:lnTo>
                <a:lnTo>
                  <a:pt x="1328349" y="203200"/>
                </a:lnTo>
                <a:lnTo>
                  <a:pt x="1292994" y="228600"/>
                </a:lnTo>
                <a:lnTo>
                  <a:pt x="1259346" y="266700"/>
                </a:lnTo>
                <a:lnTo>
                  <a:pt x="1227299" y="292100"/>
                </a:lnTo>
                <a:lnTo>
                  <a:pt x="1196747" y="317500"/>
                </a:lnTo>
                <a:lnTo>
                  <a:pt x="1167584" y="355600"/>
                </a:lnTo>
                <a:lnTo>
                  <a:pt x="1139703" y="381000"/>
                </a:lnTo>
                <a:lnTo>
                  <a:pt x="1112999" y="406400"/>
                </a:lnTo>
                <a:lnTo>
                  <a:pt x="1087365" y="444500"/>
                </a:lnTo>
                <a:lnTo>
                  <a:pt x="1062696" y="469900"/>
                </a:lnTo>
                <a:lnTo>
                  <a:pt x="1016667" y="520700"/>
                </a:lnTo>
                <a:lnTo>
                  <a:pt x="974873" y="571500"/>
                </a:lnTo>
                <a:lnTo>
                  <a:pt x="936011" y="609600"/>
                </a:lnTo>
                <a:lnTo>
                  <a:pt x="861865" y="660400"/>
                </a:lnTo>
                <a:lnTo>
                  <a:pt x="823972" y="685800"/>
                </a:lnTo>
                <a:lnTo>
                  <a:pt x="783793" y="698500"/>
                </a:lnTo>
                <a:lnTo>
                  <a:pt x="740024" y="711200"/>
                </a:lnTo>
                <a:lnTo>
                  <a:pt x="1339340" y="711200"/>
                </a:lnTo>
                <a:lnTo>
                  <a:pt x="1399554" y="635000"/>
                </a:lnTo>
                <a:lnTo>
                  <a:pt x="1430029" y="609600"/>
                </a:lnTo>
                <a:lnTo>
                  <a:pt x="1461124" y="571500"/>
                </a:lnTo>
                <a:lnTo>
                  <a:pt x="1493119" y="546100"/>
                </a:lnTo>
                <a:lnTo>
                  <a:pt x="1526296" y="508000"/>
                </a:lnTo>
                <a:lnTo>
                  <a:pt x="1560935" y="482600"/>
                </a:lnTo>
                <a:lnTo>
                  <a:pt x="1597317" y="457200"/>
                </a:lnTo>
                <a:lnTo>
                  <a:pt x="1635723" y="431800"/>
                </a:lnTo>
                <a:lnTo>
                  <a:pt x="1676433" y="419100"/>
                </a:lnTo>
                <a:lnTo>
                  <a:pt x="1719728" y="406400"/>
                </a:lnTo>
                <a:lnTo>
                  <a:pt x="1765890" y="381000"/>
                </a:lnTo>
                <a:lnTo>
                  <a:pt x="1815198" y="381000"/>
                </a:lnTo>
                <a:lnTo>
                  <a:pt x="1867934" y="368300"/>
                </a:lnTo>
                <a:lnTo>
                  <a:pt x="2695314" y="368300"/>
                </a:lnTo>
                <a:lnTo>
                  <a:pt x="2681358" y="355600"/>
                </a:lnTo>
                <a:lnTo>
                  <a:pt x="2652168" y="317500"/>
                </a:lnTo>
                <a:lnTo>
                  <a:pt x="2621591" y="292100"/>
                </a:lnTo>
                <a:lnTo>
                  <a:pt x="2589522" y="266700"/>
                </a:lnTo>
                <a:lnTo>
                  <a:pt x="2555855" y="228600"/>
                </a:lnTo>
                <a:lnTo>
                  <a:pt x="2520484" y="203200"/>
                </a:lnTo>
                <a:lnTo>
                  <a:pt x="2483301" y="177800"/>
                </a:lnTo>
                <a:lnTo>
                  <a:pt x="2444202" y="152400"/>
                </a:lnTo>
                <a:lnTo>
                  <a:pt x="2403079" y="127000"/>
                </a:lnTo>
                <a:lnTo>
                  <a:pt x="2359826" y="101600"/>
                </a:lnTo>
                <a:lnTo>
                  <a:pt x="2314337" y="76200"/>
                </a:lnTo>
                <a:lnTo>
                  <a:pt x="2266506" y="63500"/>
                </a:lnTo>
                <a:lnTo>
                  <a:pt x="2216226" y="38100"/>
                </a:lnTo>
                <a:lnTo>
                  <a:pt x="2163392" y="25400"/>
                </a:lnTo>
                <a:lnTo>
                  <a:pt x="2107896" y="12700"/>
                </a:lnTo>
                <a:close/>
              </a:path>
              <a:path w="4791075" h="3244215">
                <a:moveTo>
                  <a:pt x="4574718" y="12700"/>
                </a:moveTo>
                <a:lnTo>
                  <a:pt x="4207690" y="12700"/>
                </a:lnTo>
                <a:lnTo>
                  <a:pt x="4152199" y="25400"/>
                </a:lnTo>
                <a:lnTo>
                  <a:pt x="4099370" y="38100"/>
                </a:lnTo>
                <a:lnTo>
                  <a:pt x="4049098" y="63500"/>
                </a:lnTo>
                <a:lnTo>
                  <a:pt x="4001276" y="76200"/>
                </a:lnTo>
                <a:lnTo>
                  <a:pt x="3955800" y="101600"/>
                </a:lnTo>
                <a:lnTo>
                  <a:pt x="3912563" y="127000"/>
                </a:lnTo>
                <a:lnTo>
                  <a:pt x="3871460" y="152400"/>
                </a:lnTo>
                <a:lnTo>
                  <a:pt x="3832383" y="177800"/>
                </a:lnTo>
                <a:lnTo>
                  <a:pt x="3795228" y="203200"/>
                </a:lnTo>
                <a:lnTo>
                  <a:pt x="3759889" y="228600"/>
                </a:lnTo>
                <a:lnTo>
                  <a:pt x="3726259" y="266700"/>
                </a:lnTo>
                <a:lnTo>
                  <a:pt x="3694233" y="292100"/>
                </a:lnTo>
                <a:lnTo>
                  <a:pt x="3663704" y="317500"/>
                </a:lnTo>
                <a:lnTo>
                  <a:pt x="3634568" y="355600"/>
                </a:lnTo>
                <a:lnTo>
                  <a:pt x="3606717" y="381000"/>
                </a:lnTo>
                <a:lnTo>
                  <a:pt x="3580047" y="406400"/>
                </a:lnTo>
                <a:lnTo>
                  <a:pt x="3554451" y="444500"/>
                </a:lnTo>
                <a:lnTo>
                  <a:pt x="3529823" y="469900"/>
                </a:lnTo>
                <a:lnTo>
                  <a:pt x="3482515" y="520700"/>
                </a:lnTo>
                <a:lnTo>
                  <a:pt x="3439968" y="571500"/>
                </a:lnTo>
                <a:lnTo>
                  <a:pt x="3400778" y="609600"/>
                </a:lnTo>
                <a:lnTo>
                  <a:pt x="3363538" y="635000"/>
                </a:lnTo>
                <a:lnTo>
                  <a:pt x="3326845" y="673100"/>
                </a:lnTo>
                <a:lnTo>
                  <a:pt x="3289295" y="685800"/>
                </a:lnTo>
                <a:lnTo>
                  <a:pt x="3249481" y="698500"/>
                </a:lnTo>
                <a:lnTo>
                  <a:pt x="3206000" y="711200"/>
                </a:lnTo>
                <a:lnTo>
                  <a:pt x="3806163" y="711200"/>
                </a:lnTo>
                <a:lnTo>
                  <a:pt x="3866381" y="635000"/>
                </a:lnTo>
                <a:lnTo>
                  <a:pt x="3896857" y="609600"/>
                </a:lnTo>
                <a:lnTo>
                  <a:pt x="3927954" y="571500"/>
                </a:lnTo>
                <a:lnTo>
                  <a:pt x="3959950" y="546100"/>
                </a:lnTo>
                <a:lnTo>
                  <a:pt x="3993128" y="508000"/>
                </a:lnTo>
                <a:lnTo>
                  <a:pt x="4027767" y="482600"/>
                </a:lnTo>
                <a:lnTo>
                  <a:pt x="4064149" y="457200"/>
                </a:lnTo>
                <a:lnTo>
                  <a:pt x="4102554" y="431800"/>
                </a:lnTo>
                <a:lnTo>
                  <a:pt x="4143264" y="419100"/>
                </a:lnTo>
                <a:lnTo>
                  <a:pt x="4186558" y="406400"/>
                </a:lnTo>
                <a:lnTo>
                  <a:pt x="4232718" y="381000"/>
                </a:lnTo>
                <a:lnTo>
                  <a:pt x="4282025" y="381000"/>
                </a:lnTo>
                <a:lnTo>
                  <a:pt x="4334759" y="368300"/>
                </a:lnTo>
                <a:lnTo>
                  <a:pt x="4790792" y="368300"/>
                </a:lnTo>
                <a:lnTo>
                  <a:pt x="4790792" y="88900"/>
                </a:lnTo>
                <a:lnTo>
                  <a:pt x="4781160" y="76200"/>
                </a:lnTo>
                <a:lnTo>
                  <a:pt x="4733329" y="63500"/>
                </a:lnTo>
                <a:lnTo>
                  <a:pt x="4683049" y="38100"/>
                </a:lnTo>
                <a:lnTo>
                  <a:pt x="4630214" y="25400"/>
                </a:lnTo>
                <a:lnTo>
                  <a:pt x="4574718" y="12700"/>
                </a:lnTo>
                <a:close/>
              </a:path>
              <a:path w="4791075" h="3244215">
                <a:moveTo>
                  <a:pt x="4790792" y="368300"/>
                </a:moveTo>
                <a:lnTo>
                  <a:pt x="4447647" y="368300"/>
                </a:lnTo>
                <a:lnTo>
                  <a:pt x="4500385" y="381000"/>
                </a:lnTo>
                <a:lnTo>
                  <a:pt x="4549695" y="381000"/>
                </a:lnTo>
                <a:lnTo>
                  <a:pt x="4595858" y="406400"/>
                </a:lnTo>
                <a:lnTo>
                  <a:pt x="4639155" y="419100"/>
                </a:lnTo>
                <a:lnTo>
                  <a:pt x="4679866" y="431800"/>
                </a:lnTo>
                <a:lnTo>
                  <a:pt x="4718273" y="457200"/>
                </a:lnTo>
                <a:lnTo>
                  <a:pt x="4754655" y="482600"/>
                </a:lnTo>
                <a:lnTo>
                  <a:pt x="4789295" y="508000"/>
                </a:lnTo>
                <a:lnTo>
                  <a:pt x="4790792" y="508000"/>
                </a:lnTo>
                <a:lnTo>
                  <a:pt x="4790792" y="368300"/>
                </a:lnTo>
                <a:close/>
              </a:path>
              <a:path w="4791075" h="3244215">
                <a:moveTo>
                  <a:pt x="1988495" y="0"/>
                </a:moveTo>
                <a:lnTo>
                  <a:pt x="1860263" y="0"/>
                </a:lnTo>
                <a:lnTo>
                  <a:pt x="1799128" y="12700"/>
                </a:lnTo>
                <a:lnTo>
                  <a:pt x="2049632" y="12700"/>
                </a:lnTo>
                <a:lnTo>
                  <a:pt x="1988495" y="0"/>
                </a:lnTo>
                <a:close/>
              </a:path>
              <a:path w="4791075" h="3244215">
                <a:moveTo>
                  <a:pt x="4455318" y="0"/>
                </a:moveTo>
                <a:lnTo>
                  <a:pt x="4327085" y="0"/>
                </a:lnTo>
                <a:lnTo>
                  <a:pt x="4265951" y="12700"/>
                </a:lnTo>
                <a:lnTo>
                  <a:pt x="4516455" y="12700"/>
                </a:lnTo>
                <a:lnTo>
                  <a:pt x="4455318" y="0"/>
                </a:lnTo>
                <a:close/>
              </a:path>
            </a:pathLst>
          </a:custGeom>
          <a:solidFill>
            <a:srgbClr val="00B5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04153FB4-7F95-554D-A662-CB93AFA993FF}"/>
              </a:ext>
            </a:extLst>
          </p:cNvPr>
          <p:cNvGrpSpPr/>
          <p:nvPr userDrawn="1"/>
        </p:nvGrpSpPr>
        <p:grpSpPr>
          <a:xfrm>
            <a:off x="228086" y="180815"/>
            <a:ext cx="1457074" cy="2415958"/>
            <a:chOff x="304114" y="267874"/>
            <a:chExt cx="1942765" cy="3579197"/>
          </a:xfrm>
        </p:grpSpPr>
        <p:sp>
          <p:nvSpPr>
            <p:cNvPr id="14" name="object 7">
              <a:extLst>
                <a:ext uri="{FF2B5EF4-FFF2-40B4-BE49-F238E27FC236}">
                  <a16:creationId xmlns:a16="http://schemas.microsoft.com/office/drawing/2014/main" id="{5D4B4CE4-EC72-1146-927A-B063D028E872}"/>
                </a:ext>
              </a:extLst>
            </p:cNvPr>
            <p:cNvSpPr/>
            <p:nvPr userDrawn="1"/>
          </p:nvSpPr>
          <p:spPr>
            <a:xfrm>
              <a:off x="1054625" y="2654805"/>
              <a:ext cx="711200" cy="713105"/>
            </a:xfrm>
            <a:custGeom>
              <a:avLst/>
              <a:gdLst/>
              <a:ahLst/>
              <a:cxnLst/>
              <a:rect l="l" t="t" r="r" b="b"/>
              <a:pathLst>
                <a:path w="711200" h="713104">
                  <a:moveTo>
                    <a:pt x="174706" y="0"/>
                  </a:moveTo>
                  <a:lnTo>
                    <a:pt x="127846" y="0"/>
                  </a:lnTo>
                  <a:lnTo>
                    <a:pt x="82770" y="14346"/>
                  </a:lnTo>
                  <a:lnTo>
                    <a:pt x="43040" y="43040"/>
                  </a:lnTo>
                  <a:lnTo>
                    <a:pt x="14346" y="82768"/>
                  </a:lnTo>
                  <a:lnTo>
                    <a:pt x="0" y="127842"/>
                  </a:lnTo>
                  <a:lnTo>
                    <a:pt x="0" y="174697"/>
                  </a:lnTo>
                  <a:lnTo>
                    <a:pt x="14346" y="219771"/>
                  </a:lnTo>
                  <a:lnTo>
                    <a:pt x="43040" y="259499"/>
                  </a:lnTo>
                  <a:lnTo>
                    <a:pt x="451447" y="667906"/>
                  </a:lnTo>
                  <a:lnTo>
                    <a:pt x="502075" y="701527"/>
                  </a:lnTo>
                  <a:lnTo>
                    <a:pt x="559676" y="712737"/>
                  </a:lnTo>
                  <a:lnTo>
                    <a:pt x="588914" y="709934"/>
                  </a:lnTo>
                  <a:lnTo>
                    <a:pt x="643898" y="687517"/>
                  </a:lnTo>
                  <a:lnTo>
                    <a:pt x="696600" y="628176"/>
                  </a:lnTo>
                  <a:lnTo>
                    <a:pt x="710947" y="583100"/>
                  </a:lnTo>
                  <a:lnTo>
                    <a:pt x="710947" y="536240"/>
                  </a:lnTo>
                  <a:lnTo>
                    <a:pt x="696600" y="491164"/>
                  </a:lnTo>
                  <a:lnTo>
                    <a:pt x="667906" y="451434"/>
                  </a:lnTo>
                  <a:lnTo>
                    <a:pt x="259512" y="43040"/>
                  </a:lnTo>
                  <a:lnTo>
                    <a:pt x="219782" y="14346"/>
                  </a:lnTo>
                  <a:lnTo>
                    <a:pt x="174706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5" name="object 8">
              <a:extLst>
                <a:ext uri="{FF2B5EF4-FFF2-40B4-BE49-F238E27FC236}">
                  <a16:creationId xmlns:a16="http://schemas.microsoft.com/office/drawing/2014/main" id="{9CFDF2E9-55D5-2E4D-BE6D-607C7EBFCF0A}"/>
                </a:ext>
              </a:extLst>
            </p:cNvPr>
            <p:cNvSpPr/>
            <p:nvPr userDrawn="1"/>
          </p:nvSpPr>
          <p:spPr>
            <a:xfrm>
              <a:off x="1054646" y="748974"/>
              <a:ext cx="711200" cy="713105"/>
            </a:xfrm>
            <a:custGeom>
              <a:avLst/>
              <a:gdLst/>
              <a:ahLst/>
              <a:cxnLst/>
              <a:rect l="l" t="t" r="r" b="b"/>
              <a:pathLst>
                <a:path w="711200" h="713105">
                  <a:moveTo>
                    <a:pt x="583087" y="0"/>
                  </a:moveTo>
                  <a:lnTo>
                    <a:pt x="536228" y="0"/>
                  </a:lnTo>
                  <a:lnTo>
                    <a:pt x="491151" y="14346"/>
                  </a:lnTo>
                  <a:lnTo>
                    <a:pt x="451422" y="43040"/>
                  </a:lnTo>
                  <a:lnTo>
                    <a:pt x="43040" y="451434"/>
                  </a:lnTo>
                  <a:lnTo>
                    <a:pt x="14346" y="491165"/>
                  </a:lnTo>
                  <a:lnTo>
                    <a:pt x="0" y="536244"/>
                  </a:lnTo>
                  <a:lnTo>
                    <a:pt x="0" y="583105"/>
                  </a:lnTo>
                  <a:lnTo>
                    <a:pt x="14346" y="628181"/>
                  </a:lnTo>
                  <a:lnTo>
                    <a:pt x="43040" y="667906"/>
                  </a:lnTo>
                  <a:lnTo>
                    <a:pt x="93669" y="701527"/>
                  </a:lnTo>
                  <a:lnTo>
                    <a:pt x="151270" y="712737"/>
                  </a:lnTo>
                  <a:lnTo>
                    <a:pt x="180507" y="709934"/>
                  </a:lnTo>
                  <a:lnTo>
                    <a:pt x="235491" y="687517"/>
                  </a:lnTo>
                  <a:lnTo>
                    <a:pt x="667893" y="259499"/>
                  </a:lnTo>
                  <a:lnTo>
                    <a:pt x="696587" y="219770"/>
                  </a:lnTo>
                  <a:lnTo>
                    <a:pt x="710934" y="174694"/>
                  </a:lnTo>
                  <a:lnTo>
                    <a:pt x="710934" y="127836"/>
                  </a:lnTo>
                  <a:lnTo>
                    <a:pt x="696587" y="82763"/>
                  </a:lnTo>
                  <a:lnTo>
                    <a:pt x="667893" y="43040"/>
                  </a:lnTo>
                  <a:lnTo>
                    <a:pt x="628164" y="14346"/>
                  </a:lnTo>
                  <a:lnTo>
                    <a:pt x="583087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7" name="object 9">
              <a:extLst>
                <a:ext uri="{FF2B5EF4-FFF2-40B4-BE49-F238E27FC236}">
                  <a16:creationId xmlns:a16="http://schemas.microsoft.com/office/drawing/2014/main" id="{29DDF08C-A638-1946-B0C0-1E2191E97F55}"/>
                </a:ext>
              </a:extLst>
            </p:cNvPr>
            <p:cNvSpPr/>
            <p:nvPr userDrawn="1"/>
          </p:nvSpPr>
          <p:spPr>
            <a:xfrm>
              <a:off x="304114" y="2963152"/>
              <a:ext cx="306705" cy="883919"/>
            </a:xfrm>
            <a:custGeom>
              <a:avLst/>
              <a:gdLst/>
              <a:ahLst/>
              <a:cxnLst/>
              <a:rect l="l" t="t" r="r" b="b"/>
              <a:pathLst>
                <a:path w="306705" h="883920">
                  <a:moveTo>
                    <a:pt x="153073" y="0"/>
                  </a:moveTo>
                  <a:lnTo>
                    <a:pt x="104688" y="7803"/>
                  </a:lnTo>
                  <a:lnTo>
                    <a:pt x="62668" y="29533"/>
                  </a:lnTo>
                  <a:lnTo>
                    <a:pt x="29533" y="62668"/>
                  </a:lnTo>
                  <a:lnTo>
                    <a:pt x="7803" y="104688"/>
                  </a:lnTo>
                  <a:lnTo>
                    <a:pt x="0" y="153073"/>
                  </a:lnTo>
                  <a:lnTo>
                    <a:pt x="12" y="730580"/>
                  </a:lnTo>
                  <a:lnTo>
                    <a:pt x="7817" y="778964"/>
                  </a:lnTo>
                  <a:lnTo>
                    <a:pt x="29549" y="820984"/>
                  </a:lnTo>
                  <a:lnTo>
                    <a:pt x="62686" y="854120"/>
                  </a:lnTo>
                  <a:lnTo>
                    <a:pt x="104706" y="875849"/>
                  </a:lnTo>
                  <a:lnTo>
                    <a:pt x="153085" y="883653"/>
                  </a:lnTo>
                  <a:lnTo>
                    <a:pt x="201470" y="875849"/>
                  </a:lnTo>
                  <a:lnTo>
                    <a:pt x="243490" y="854120"/>
                  </a:lnTo>
                  <a:lnTo>
                    <a:pt x="276625" y="820984"/>
                  </a:lnTo>
                  <a:lnTo>
                    <a:pt x="298355" y="778964"/>
                  </a:lnTo>
                  <a:lnTo>
                    <a:pt x="306158" y="730580"/>
                  </a:lnTo>
                  <a:lnTo>
                    <a:pt x="306146" y="153073"/>
                  </a:lnTo>
                  <a:lnTo>
                    <a:pt x="298341" y="104683"/>
                  </a:lnTo>
                  <a:lnTo>
                    <a:pt x="276609" y="62662"/>
                  </a:lnTo>
                  <a:lnTo>
                    <a:pt x="243472" y="29529"/>
                  </a:lnTo>
                  <a:lnTo>
                    <a:pt x="201452" y="7802"/>
                  </a:lnTo>
                  <a:lnTo>
                    <a:pt x="153073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A19BE1D9-34DB-3645-9DDF-2DA3E67EC7C3}"/>
                </a:ext>
              </a:extLst>
            </p:cNvPr>
            <p:cNvSpPr/>
            <p:nvPr userDrawn="1"/>
          </p:nvSpPr>
          <p:spPr>
            <a:xfrm>
              <a:off x="304114" y="267874"/>
              <a:ext cx="306705" cy="883919"/>
            </a:xfrm>
            <a:custGeom>
              <a:avLst/>
              <a:gdLst/>
              <a:ahLst/>
              <a:cxnLst/>
              <a:rect l="l" t="t" r="r" b="b"/>
              <a:pathLst>
                <a:path w="306705" h="883919">
                  <a:moveTo>
                    <a:pt x="153073" y="0"/>
                  </a:moveTo>
                  <a:lnTo>
                    <a:pt x="104688" y="7803"/>
                  </a:lnTo>
                  <a:lnTo>
                    <a:pt x="62668" y="29533"/>
                  </a:lnTo>
                  <a:lnTo>
                    <a:pt x="29533" y="62668"/>
                  </a:lnTo>
                  <a:lnTo>
                    <a:pt x="7803" y="104688"/>
                  </a:lnTo>
                  <a:lnTo>
                    <a:pt x="0" y="153073"/>
                  </a:lnTo>
                  <a:lnTo>
                    <a:pt x="12" y="730618"/>
                  </a:lnTo>
                  <a:lnTo>
                    <a:pt x="7817" y="779002"/>
                  </a:lnTo>
                  <a:lnTo>
                    <a:pt x="29549" y="821022"/>
                  </a:lnTo>
                  <a:lnTo>
                    <a:pt x="62686" y="854158"/>
                  </a:lnTo>
                  <a:lnTo>
                    <a:pt x="104706" y="875888"/>
                  </a:lnTo>
                  <a:lnTo>
                    <a:pt x="153085" y="883691"/>
                  </a:lnTo>
                  <a:lnTo>
                    <a:pt x="201470" y="875888"/>
                  </a:lnTo>
                  <a:lnTo>
                    <a:pt x="243490" y="854158"/>
                  </a:lnTo>
                  <a:lnTo>
                    <a:pt x="276625" y="821022"/>
                  </a:lnTo>
                  <a:lnTo>
                    <a:pt x="298355" y="779002"/>
                  </a:lnTo>
                  <a:lnTo>
                    <a:pt x="306158" y="730618"/>
                  </a:lnTo>
                  <a:lnTo>
                    <a:pt x="306146" y="153073"/>
                  </a:lnTo>
                  <a:lnTo>
                    <a:pt x="298341" y="104683"/>
                  </a:lnTo>
                  <a:lnTo>
                    <a:pt x="276609" y="62662"/>
                  </a:lnTo>
                  <a:lnTo>
                    <a:pt x="243472" y="29529"/>
                  </a:lnTo>
                  <a:lnTo>
                    <a:pt x="201452" y="7802"/>
                  </a:lnTo>
                  <a:lnTo>
                    <a:pt x="153073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1B7A0655-8B4F-A14C-A3E7-A1742B7A1C56}"/>
                </a:ext>
              </a:extLst>
            </p:cNvPr>
            <p:cNvSpPr/>
            <p:nvPr userDrawn="1"/>
          </p:nvSpPr>
          <p:spPr>
            <a:xfrm>
              <a:off x="1362960" y="1904258"/>
              <a:ext cx="883919" cy="306705"/>
            </a:xfrm>
            <a:custGeom>
              <a:avLst/>
              <a:gdLst/>
              <a:ahLst/>
              <a:cxnLst/>
              <a:rect l="l" t="t" r="r" b="b"/>
              <a:pathLst>
                <a:path w="883919" h="306705">
                  <a:moveTo>
                    <a:pt x="730592" y="0"/>
                  </a:moveTo>
                  <a:lnTo>
                    <a:pt x="153060" y="0"/>
                  </a:lnTo>
                  <a:lnTo>
                    <a:pt x="104682" y="7803"/>
                  </a:lnTo>
                  <a:lnTo>
                    <a:pt x="62665" y="29532"/>
                  </a:lnTo>
                  <a:lnTo>
                    <a:pt x="29532" y="62665"/>
                  </a:lnTo>
                  <a:lnTo>
                    <a:pt x="7803" y="104682"/>
                  </a:lnTo>
                  <a:lnTo>
                    <a:pt x="0" y="153060"/>
                  </a:lnTo>
                  <a:lnTo>
                    <a:pt x="7803" y="201444"/>
                  </a:lnTo>
                  <a:lnTo>
                    <a:pt x="29532" y="243465"/>
                  </a:lnTo>
                  <a:lnTo>
                    <a:pt x="62665" y="276600"/>
                  </a:lnTo>
                  <a:lnTo>
                    <a:pt x="104682" y="298330"/>
                  </a:lnTo>
                  <a:lnTo>
                    <a:pt x="153060" y="306133"/>
                  </a:lnTo>
                  <a:lnTo>
                    <a:pt x="730592" y="306133"/>
                  </a:lnTo>
                  <a:lnTo>
                    <a:pt x="778972" y="298330"/>
                  </a:lnTo>
                  <a:lnTo>
                    <a:pt x="820992" y="276600"/>
                  </a:lnTo>
                  <a:lnTo>
                    <a:pt x="854129" y="243465"/>
                  </a:lnTo>
                  <a:lnTo>
                    <a:pt x="875861" y="201444"/>
                  </a:lnTo>
                  <a:lnTo>
                    <a:pt x="883666" y="153060"/>
                  </a:lnTo>
                  <a:lnTo>
                    <a:pt x="875861" y="104682"/>
                  </a:lnTo>
                  <a:lnTo>
                    <a:pt x="854129" y="62665"/>
                  </a:lnTo>
                  <a:lnTo>
                    <a:pt x="820992" y="29532"/>
                  </a:lnTo>
                  <a:lnTo>
                    <a:pt x="778972" y="7803"/>
                  </a:lnTo>
                  <a:lnTo>
                    <a:pt x="730592" y="0"/>
                  </a:lnTo>
                  <a:close/>
                </a:path>
              </a:pathLst>
            </a:custGeom>
            <a:solidFill>
              <a:srgbClr val="FFDE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</p:grpSp>
      <p:sp>
        <p:nvSpPr>
          <p:cNvPr id="46" name="Espace réservé pour une image  45">
            <a:extLst>
              <a:ext uri="{FF2B5EF4-FFF2-40B4-BE49-F238E27FC236}">
                <a16:creationId xmlns:a16="http://schemas.microsoft.com/office/drawing/2014/main" id="{061CB24D-21B8-5D46-83F8-375DDCFD6D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19100" y="4287638"/>
            <a:ext cx="2490447" cy="467629"/>
          </a:xfrm>
          <a:custGeom>
            <a:avLst/>
            <a:gdLst>
              <a:gd name="connsiteX0" fmla="*/ 0 w 3928534"/>
              <a:gd name="connsiteY0" fmla="*/ 51079 h 306467"/>
              <a:gd name="connsiteX1" fmla="*/ 51079 w 3928534"/>
              <a:gd name="connsiteY1" fmla="*/ 0 h 306467"/>
              <a:gd name="connsiteX2" fmla="*/ 3877455 w 3928534"/>
              <a:gd name="connsiteY2" fmla="*/ 0 h 306467"/>
              <a:gd name="connsiteX3" fmla="*/ 3928534 w 3928534"/>
              <a:gd name="connsiteY3" fmla="*/ 51079 h 306467"/>
              <a:gd name="connsiteX4" fmla="*/ 3928534 w 3928534"/>
              <a:gd name="connsiteY4" fmla="*/ 255388 h 306467"/>
              <a:gd name="connsiteX5" fmla="*/ 3877455 w 3928534"/>
              <a:gd name="connsiteY5" fmla="*/ 306467 h 306467"/>
              <a:gd name="connsiteX6" fmla="*/ 51079 w 3928534"/>
              <a:gd name="connsiteY6" fmla="*/ 306467 h 306467"/>
              <a:gd name="connsiteX7" fmla="*/ 0 w 3928534"/>
              <a:gd name="connsiteY7" fmla="*/ 255388 h 306467"/>
              <a:gd name="connsiteX8" fmla="*/ 0 w 3928534"/>
              <a:gd name="connsiteY8" fmla="*/ 51079 h 306467"/>
              <a:gd name="connsiteX0" fmla="*/ 0 w 3928534"/>
              <a:gd name="connsiteY0" fmla="*/ 51079 h 1982867"/>
              <a:gd name="connsiteX1" fmla="*/ 51079 w 3928534"/>
              <a:gd name="connsiteY1" fmla="*/ 0 h 1982867"/>
              <a:gd name="connsiteX2" fmla="*/ 3877455 w 3928534"/>
              <a:gd name="connsiteY2" fmla="*/ 0 h 1982867"/>
              <a:gd name="connsiteX3" fmla="*/ 3928534 w 3928534"/>
              <a:gd name="connsiteY3" fmla="*/ 51079 h 1982867"/>
              <a:gd name="connsiteX4" fmla="*/ 3928534 w 3928534"/>
              <a:gd name="connsiteY4" fmla="*/ 255388 h 1982867"/>
              <a:gd name="connsiteX5" fmla="*/ 3877455 w 3928534"/>
              <a:gd name="connsiteY5" fmla="*/ 306467 h 1982867"/>
              <a:gd name="connsiteX6" fmla="*/ 592946 w 3928534"/>
              <a:gd name="connsiteY6" fmla="*/ 1982867 h 1982867"/>
              <a:gd name="connsiteX7" fmla="*/ 0 w 3928534"/>
              <a:gd name="connsiteY7" fmla="*/ 255388 h 1982867"/>
              <a:gd name="connsiteX8" fmla="*/ 0 w 3928534"/>
              <a:gd name="connsiteY8" fmla="*/ 51079 h 1982867"/>
              <a:gd name="connsiteX0" fmla="*/ 1016000 w 4944534"/>
              <a:gd name="connsiteY0" fmla="*/ 51079 h 1982867"/>
              <a:gd name="connsiteX1" fmla="*/ 1067079 w 4944534"/>
              <a:gd name="connsiteY1" fmla="*/ 0 h 1982867"/>
              <a:gd name="connsiteX2" fmla="*/ 4893455 w 4944534"/>
              <a:gd name="connsiteY2" fmla="*/ 0 h 1982867"/>
              <a:gd name="connsiteX3" fmla="*/ 4944534 w 4944534"/>
              <a:gd name="connsiteY3" fmla="*/ 51079 h 1982867"/>
              <a:gd name="connsiteX4" fmla="*/ 4944534 w 4944534"/>
              <a:gd name="connsiteY4" fmla="*/ 255388 h 1982867"/>
              <a:gd name="connsiteX5" fmla="*/ 4893455 w 4944534"/>
              <a:gd name="connsiteY5" fmla="*/ 306467 h 1982867"/>
              <a:gd name="connsiteX6" fmla="*/ 1608946 w 4944534"/>
              <a:gd name="connsiteY6" fmla="*/ 1982867 h 1982867"/>
              <a:gd name="connsiteX7" fmla="*/ 0 w 4944534"/>
              <a:gd name="connsiteY7" fmla="*/ 864988 h 1982867"/>
              <a:gd name="connsiteX8" fmla="*/ 1016000 w 4944534"/>
              <a:gd name="connsiteY8" fmla="*/ 51079 h 1982867"/>
              <a:gd name="connsiteX0" fmla="*/ 0 w 6028267"/>
              <a:gd name="connsiteY0" fmla="*/ 632 h 2880687"/>
              <a:gd name="connsiteX1" fmla="*/ 2150812 w 6028267"/>
              <a:gd name="connsiteY1" fmla="*/ 897820 h 2880687"/>
              <a:gd name="connsiteX2" fmla="*/ 5977188 w 6028267"/>
              <a:gd name="connsiteY2" fmla="*/ 897820 h 2880687"/>
              <a:gd name="connsiteX3" fmla="*/ 6028267 w 6028267"/>
              <a:gd name="connsiteY3" fmla="*/ 948899 h 2880687"/>
              <a:gd name="connsiteX4" fmla="*/ 6028267 w 6028267"/>
              <a:gd name="connsiteY4" fmla="*/ 1153208 h 2880687"/>
              <a:gd name="connsiteX5" fmla="*/ 5977188 w 6028267"/>
              <a:gd name="connsiteY5" fmla="*/ 1204287 h 2880687"/>
              <a:gd name="connsiteX6" fmla="*/ 2692679 w 6028267"/>
              <a:gd name="connsiteY6" fmla="*/ 2880687 h 2880687"/>
              <a:gd name="connsiteX7" fmla="*/ 1083733 w 6028267"/>
              <a:gd name="connsiteY7" fmla="*/ 1762808 h 2880687"/>
              <a:gd name="connsiteX8" fmla="*/ 0 w 6028267"/>
              <a:gd name="connsiteY8" fmla="*/ 632 h 2880687"/>
              <a:gd name="connsiteX0" fmla="*/ 423036 w 6451303"/>
              <a:gd name="connsiteY0" fmla="*/ 632 h 2880687"/>
              <a:gd name="connsiteX1" fmla="*/ 2573848 w 6451303"/>
              <a:gd name="connsiteY1" fmla="*/ 897820 h 2880687"/>
              <a:gd name="connsiteX2" fmla="*/ 6400224 w 6451303"/>
              <a:gd name="connsiteY2" fmla="*/ 897820 h 2880687"/>
              <a:gd name="connsiteX3" fmla="*/ 6451303 w 6451303"/>
              <a:gd name="connsiteY3" fmla="*/ 948899 h 2880687"/>
              <a:gd name="connsiteX4" fmla="*/ 6451303 w 6451303"/>
              <a:gd name="connsiteY4" fmla="*/ 1153208 h 2880687"/>
              <a:gd name="connsiteX5" fmla="*/ 6400224 w 6451303"/>
              <a:gd name="connsiteY5" fmla="*/ 1204287 h 2880687"/>
              <a:gd name="connsiteX6" fmla="*/ 3115715 w 6451303"/>
              <a:gd name="connsiteY6" fmla="*/ 2880687 h 2880687"/>
              <a:gd name="connsiteX7" fmla="*/ 1506769 w 6451303"/>
              <a:gd name="connsiteY7" fmla="*/ 1762808 h 2880687"/>
              <a:gd name="connsiteX8" fmla="*/ 423036 w 6451303"/>
              <a:gd name="connsiteY8" fmla="*/ 632 h 2880687"/>
              <a:gd name="connsiteX0" fmla="*/ 1688881 w 7717148"/>
              <a:gd name="connsiteY0" fmla="*/ 632 h 3710821"/>
              <a:gd name="connsiteX1" fmla="*/ 3839693 w 7717148"/>
              <a:gd name="connsiteY1" fmla="*/ 897820 h 3710821"/>
              <a:gd name="connsiteX2" fmla="*/ 7666069 w 7717148"/>
              <a:gd name="connsiteY2" fmla="*/ 897820 h 3710821"/>
              <a:gd name="connsiteX3" fmla="*/ 7717148 w 7717148"/>
              <a:gd name="connsiteY3" fmla="*/ 948899 h 3710821"/>
              <a:gd name="connsiteX4" fmla="*/ 7717148 w 7717148"/>
              <a:gd name="connsiteY4" fmla="*/ 1153208 h 3710821"/>
              <a:gd name="connsiteX5" fmla="*/ 7666069 w 7717148"/>
              <a:gd name="connsiteY5" fmla="*/ 1204287 h 3710821"/>
              <a:gd name="connsiteX6" fmla="*/ 4381560 w 7717148"/>
              <a:gd name="connsiteY6" fmla="*/ 2880687 h 3710821"/>
              <a:gd name="connsiteX7" fmla="*/ 97147 w 7717148"/>
              <a:gd name="connsiteY7" fmla="*/ 3710141 h 3710821"/>
              <a:gd name="connsiteX8" fmla="*/ 1688881 w 7717148"/>
              <a:gd name="connsiteY8" fmla="*/ 632 h 3710821"/>
              <a:gd name="connsiteX0" fmla="*/ 1688881 w 7717148"/>
              <a:gd name="connsiteY0" fmla="*/ 632 h 3778154"/>
              <a:gd name="connsiteX1" fmla="*/ 3839693 w 7717148"/>
              <a:gd name="connsiteY1" fmla="*/ 897820 h 3778154"/>
              <a:gd name="connsiteX2" fmla="*/ 7666069 w 7717148"/>
              <a:gd name="connsiteY2" fmla="*/ 897820 h 3778154"/>
              <a:gd name="connsiteX3" fmla="*/ 7717148 w 7717148"/>
              <a:gd name="connsiteY3" fmla="*/ 948899 h 3778154"/>
              <a:gd name="connsiteX4" fmla="*/ 7717148 w 7717148"/>
              <a:gd name="connsiteY4" fmla="*/ 1153208 h 3778154"/>
              <a:gd name="connsiteX5" fmla="*/ 7666069 w 7717148"/>
              <a:gd name="connsiteY5" fmla="*/ 1204287 h 3778154"/>
              <a:gd name="connsiteX6" fmla="*/ 2925293 w 7717148"/>
              <a:gd name="connsiteY6" fmla="*/ 3778154 h 3778154"/>
              <a:gd name="connsiteX7" fmla="*/ 97147 w 7717148"/>
              <a:gd name="connsiteY7" fmla="*/ 3710141 h 3778154"/>
              <a:gd name="connsiteX8" fmla="*/ 1688881 w 7717148"/>
              <a:gd name="connsiteY8" fmla="*/ 632 h 3778154"/>
              <a:gd name="connsiteX0" fmla="*/ 1688881 w 7717148"/>
              <a:gd name="connsiteY0" fmla="*/ 632 h 3828954"/>
              <a:gd name="connsiteX1" fmla="*/ 3839693 w 7717148"/>
              <a:gd name="connsiteY1" fmla="*/ 897820 h 3828954"/>
              <a:gd name="connsiteX2" fmla="*/ 7666069 w 7717148"/>
              <a:gd name="connsiteY2" fmla="*/ 897820 h 3828954"/>
              <a:gd name="connsiteX3" fmla="*/ 7717148 w 7717148"/>
              <a:gd name="connsiteY3" fmla="*/ 948899 h 3828954"/>
              <a:gd name="connsiteX4" fmla="*/ 7717148 w 7717148"/>
              <a:gd name="connsiteY4" fmla="*/ 1153208 h 3828954"/>
              <a:gd name="connsiteX5" fmla="*/ 4414869 w 7717148"/>
              <a:gd name="connsiteY5" fmla="*/ 3828954 h 3828954"/>
              <a:gd name="connsiteX6" fmla="*/ 2925293 w 7717148"/>
              <a:gd name="connsiteY6" fmla="*/ 3778154 h 3828954"/>
              <a:gd name="connsiteX7" fmla="*/ 97147 w 7717148"/>
              <a:gd name="connsiteY7" fmla="*/ 3710141 h 3828954"/>
              <a:gd name="connsiteX8" fmla="*/ 1688881 w 7717148"/>
              <a:gd name="connsiteY8" fmla="*/ 632 h 3828954"/>
              <a:gd name="connsiteX0" fmla="*/ 1688881 w 7717148"/>
              <a:gd name="connsiteY0" fmla="*/ 632 h 3828954"/>
              <a:gd name="connsiteX1" fmla="*/ 3839693 w 7717148"/>
              <a:gd name="connsiteY1" fmla="*/ 897820 h 3828954"/>
              <a:gd name="connsiteX2" fmla="*/ 7666069 w 7717148"/>
              <a:gd name="connsiteY2" fmla="*/ 897820 h 3828954"/>
              <a:gd name="connsiteX3" fmla="*/ 7717148 w 7717148"/>
              <a:gd name="connsiteY3" fmla="*/ 948899 h 3828954"/>
              <a:gd name="connsiteX4" fmla="*/ 7717148 w 7717148"/>
              <a:gd name="connsiteY4" fmla="*/ 1153208 h 3828954"/>
              <a:gd name="connsiteX5" fmla="*/ 4414869 w 7717148"/>
              <a:gd name="connsiteY5" fmla="*/ 3828954 h 3828954"/>
              <a:gd name="connsiteX6" fmla="*/ 1570626 w 7717148"/>
              <a:gd name="connsiteY6" fmla="*/ 3744287 h 3828954"/>
              <a:gd name="connsiteX7" fmla="*/ 97147 w 7717148"/>
              <a:gd name="connsiteY7" fmla="*/ 3710141 h 3828954"/>
              <a:gd name="connsiteX8" fmla="*/ 1688881 w 7717148"/>
              <a:gd name="connsiteY8" fmla="*/ 632 h 3828954"/>
              <a:gd name="connsiteX0" fmla="*/ 1766653 w 7794920"/>
              <a:gd name="connsiteY0" fmla="*/ 632 h 3828954"/>
              <a:gd name="connsiteX1" fmla="*/ 3917465 w 7794920"/>
              <a:gd name="connsiteY1" fmla="*/ 897820 h 3828954"/>
              <a:gd name="connsiteX2" fmla="*/ 7743841 w 7794920"/>
              <a:gd name="connsiteY2" fmla="*/ 897820 h 3828954"/>
              <a:gd name="connsiteX3" fmla="*/ 7794920 w 7794920"/>
              <a:gd name="connsiteY3" fmla="*/ 948899 h 3828954"/>
              <a:gd name="connsiteX4" fmla="*/ 7794920 w 7794920"/>
              <a:gd name="connsiteY4" fmla="*/ 1153208 h 3828954"/>
              <a:gd name="connsiteX5" fmla="*/ 4492641 w 7794920"/>
              <a:gd name="connsiteY5" fmla="*/ 3828954 h 3828954"/>
              <a:gd name="connsiteX6" fmla="*/ 1648398 w 7794920"/>
              <a:gd name="connsiteY6" fmla="*/ 3744287 h 3828954"/>
              <a:gd name="connsiteX7" fmla="*/ 90252 w 7794920"/>
              <a:gd name="connsiteY7" fmla="*/ 3710141 h 3828954"/>
              <a:gd name="connsiteX8" fmla="*/ 1766653 w 7794920"/>
              <a:gd name="connsiteY8" fmla="*/ 632 h 3828954"/>
              <a:gd name="connsiteX0" fmla="*/ 1766653 w 7794920"/>
              <a:gd name="connsiteY0" fmla="*/ 632 h 3744287"/>
              <a:gd name="connsiteX1" fmla="*/ 3917465 w 7794920"/>
              <a:gd name="connsiteY1" fmla="*/ 897820 h 3744287"/>
              <a:gd name="connsiteX2" fmla="*/ 7743841 w 7794920"/>
              <a:gd name="connsiteY2" fmla="*/ 897820 h 3744287"/>
              <a:gd name="connsiteX3" fmla="*/ 7794920 w 7794920"/>
              <a:gd name="connsiteY3" fmla="*/ 948899 h 3744287"/>
              <a:gd name="connsiteX4" fmla="*/ 7794920 w 7794920"/>
              <a:gd name="connsiteY4" fmla="*/ 1153208 h 3744287"/>
              <a:gd name="connsiteX5" fmla="*/ 3121041 w 7794920"/>
              <a:gd name="connsiteY5" fmla="*/ 3744287 h 3744287"/>
              <a:gd name="connsiteX6" fmla="*/ 1648398 w 7794920"/>
              <a:gd name="connsiteY6" fmla="*/ 3744287 h 3744287"/>
              <a:gd name="connsiteX7" fmla="*/ 90252 w 7794920"/>
              <a:gd name="connsiteY7" fmla="*/ 3710141 h 3744287"/>
              <a:gd name="connsiteX8" fmla="*/ 1766653 w 7794920"/>
              <a:gd name="connsiteY8" fmla="*/ 632 h 3744287"/>
              <a:gd name="connsiteX0" fmla="*/ 1766653 w 7794920"/>
              <a:gd name="connsiteY0" fmla="*/ 632 h 3744287"/>
              <a:gd name="connsiteX1" fmla="*/ 3917465 w 7794920"/>
              <a:gd name="connsiteY1" fmla="*/ 897820 h 3744287"/>
              <a:gd name="connsiteX2" fmla="*/ 7743841 w 7794920"/>
              <a:gd name="connsiteY2" fmla="*/ 897820 h 3744287"/>
              <a:gd name="connsiteX3" fmla="*/ 7794920 w 7794920"/>
              <a:gd name="connsiteY3" fmla="*/ 948899 h 3744287"/>
              <a:gd name="connsiteX4" fmla="*/ 6203187 w 7794920"/>
              <a:gd name="connsiteY4" fmla="*/ 2389341 h 3744287"/>
              <a:gd name="connsiteX5" fmla="*/ 3121041 w 7794920"/>
              <a:gd name="connsiteY5" fmla="*/ 3744287 h 3744287"/>
              <a:gd name="connsiteX6" fmla="*/ 1648398 w 7794920"/>
              <a:gd name="connsiteY6" fmla="*/ 3744287 h 3744287"/>
              <a:gd name="connsiteX7" fmla="*/ 90252 w 7794920"/>
              <a:gd name="connsiteY7" fmla="*/ 3710141 h 3744287"/>
              <a:gd name="connsiteX8" fmla="*/ 1766653 w 7794920"/>
              <a:gd name="connsiteY8" fmla="*/ 632 h 3744287"/>
              <a:gd name="connsiteX0" fmla="*/ 1766653 w 7794920"/>
              <a:gd name="connsiteY0" fmla="*/ 2387 h 3746042"/>
              <a:gd name="connsiteX1" fmla="*/ 2088665 w 7794920"/>
              <a:gd name="connsiteY1" fmla="*/ 205308 h 3746042"/>
              <a:gd name="connsiteX2" fmla="*/ 7743841 w 7794920"/>
              <a:gd name="connsiteY2" fmla="*/ 899575 h 3746042"/>
              <a:gd name="connsiteX3" fmla="*/ 7794920 w 7794920"/>
              <a:gd name="connsiteY3" fmla="*/ 950654 h 3746042"/>
              <a:gd name="connsiteX4" fmla="*/ 6203187 w 7794920"/>
              <a:gd name="connsiteY4" fmla="*/ 2391096 h 3746042"/>
              <a:gd name="connsiteX5" fmla="*/ 3121041 w 7794920"/>
              <a:gd name="connsiteY5" fmla="*/ 3746042 h 3746042"/>
              <a:gd name="connsiteX6" fmla="*/ 1648398 w 7794920"/>
              <a:gd name="connsiteY6" fmla="*/ 3746042 h 3746042"/>
              <a:gd name="connsiteX7" fmla="*/ 90252 w 7794920"/>
              <a:gd name="connsiteY7" fmla="*/ 3711896 h 3746042"/>
              <a:gd name="connsiteX8" fmla="*/ 1766653 w 7794920"/>
              <a:gd name="connsiteY8" fmla="*/ 2387 h 3746042"/>
              <a:gd name="connsiteX0" fmla="*/ 1766653 w 7744015"/>
              <a:gd name="connsiteY0" fmla="*/ 2387 h 3746042"/>
              <a:gd name="connsiteX1" fmla="*/ 2088665 w 7744015"/>
              <a:gd name="connsiteY1" fmla="*/ 205308 h 3746042"/>
              <a:gd name="connsiteX2" fmla="*/ 7743841 w 7744015"/>
              <a:gd name="connsiteY2" fmla="*/ 899575 h 3746042"/>
              <a:gd name="connsiteX3" fmla="*/ 4374386 w 7744015"/>
              <a:gd name="connsiteY3" fmla="*/ 2288387 h 3746042"/>
              <a:gd name="connsiteX4" fmla="*/ 6203187 w 7744015"/>
              <a:gd name="connsiteY4" fmla="*/ 2391096 h 3746042"/>
              <a:gd name="connsiteX5" fmla="*/ 3121041 w 7744015"/>
              <a:gd name="connsiteY5" fmla="*/ 3746042 h 3746042"/>
              <a:gd name="connsiteX6" fmla="*/ 1648398 w 7744015"/>
              <a:gd name="connsiteY6" fmla="*/ 3746042 h 3746042"/>
              <a:gd name="connsiteX7" fmla="*/ 90252 w 7744015"/>
              <a:gd name="connsiteY7" fmla="*/ 3711896 h 3746042"/>
              <a:gd name="connsiteX8" fmla="*/ 1766653 w 7744015"/>
              <a:gd name="connsiteY8" fmla="*/ 2387 h 3746042"/>
              <a:gd name="connsiteX0" fmla="*/ 1766653 w 6203187"/>
              <a:gd name="connsiteY0" fmla="*/ 2387 h 3746042"/>
              <a:gd name="connsiteX1" fmla="*/ 2088665 w 6203187"/>
              <a:gd name="connsiteY1" fmla="*/ 205308 h 3746042"/>
              <a:gd name="connsiteX2" fmla="*/ 3459707 w 6203187"/>
              <a:gd name="connsiteY2" fmla="*/ 3033175 h 3746042"/>
              <a:gd name="connsiteX3" fmla="*/ 4374386 w 6203187"/>
              <a:gd name="connsiteY3" fmla="*/ 2288387 h 3746042"/>
              <a:gd name="connsiteX4" fmla="*/ 6203187 w 6203187"/>
              <a:gd name="connsiteY4" fmla="*/ 2391096 h 3746042"/>
              <a:gd name="connsiteX5" fmla="*/ 3121041 w 6203187"/>
              <a:gd name="connsiteY5" fmla="*/ 3746042 h 3746042"/>
              <a:gd name="connsiteX6" fmla="*/ 1648398 w 6203187"/>
              <a:gd name="connsiteY6" fmla="*/ 3746042 h 3746042"/>
              <a:gd name="connsiteX7" fmla="*/ 90252 w 6203187"/>
              <a:gd name="connsiteY7" fmla="*/ 3711896 h 3746042"/>
              <a:gd name="connsiteX8" fmla="*/ 1766653 w 6203187"/>
              <a:gd name="connsiteY8" fmla="*/ 2387 h 3746042"/>
              <a:gd name="connsiteX0" fmla="*/ 1766653 w 6203187"/>
              <a:gd name="connsiteY0" fmla="*/ 2387 h 3746042"/>
              <a:gd name="connsiteX1" fmla="*/ 2088665 w 6203187"/>
              <a:gd name="connsiteY1" fmla="*/ 205308 h 3746042"/>
              <a:gd name="connsiteX2" fmla="*/ 3459707 w 6203187"/>
              <a:gd name="connsiteY2" fmla="*/ 3033175 h 3746042"/>
              <a:gd name="connsiteX3" fmla="*/ 4374386 w 6203187"/>
              <a:gd name="connsiteY3" fmla="*/ 2288387 h 3746042"/>
              <a:gd name="connsiteX4" fmla="*/ 6203187 w 6203187"/>
              <a:gd name="connsiteY4" fmla="*/ 2391096 h 3746042"/>
              <a:gd name="connsiteX5" fmla="*/ 3121041 w 6203187"/>
              <a:gd name="connsiteY5" fmla="*/ 3746042 h 3746042"/>
              <a:gd name="connsiteX6" fmla="*/ 1648398 w 6203187"/>
              <a:gd name="connsiteY6" fmla="*/ 3746042 h 3746042"/>
              <a:gd name="connsiteX7" fmla="*/ 90252 w 6203187"/>
              <a:gd name="connsiteY7" fmla="*/ 3711896 h 3746042"/>
              <a:gd name="connsiteX8" fmla="*/ 1766653 w 6203187"/>
              <a:gd name="connsiteY8" fmla="*/ 2387 h 3746042"/>
              <a:gd name="connsiteX0" fmla="*/ 1766653 w 6203187"/>
              <a:gd name="connsiteY0" fmla="*/ 3378 h 3747033"/>
              <a:gd name="connsiteX1" fmla="*/ 3459707 w 6203187"/>
              <a:gd name="connsiteY1" fmla="*/ 3034166 h 3747033"/>
              <a:gd name="connsiteX2" fmla="*/ 4374386 w 6203187"/>
              <a:gd name="connsiteY2" fmla="*/ 2289378 h 3747033"/>
              <a:gd name="connsiteX3" fmla="*/ 6203187 w 6203187"/>
              <a:gd name="connsiteY3" fmla="*/ 2392087 h 3747033"/>
              <a:gd name="connsiteX4" fmla="*/ 3121041 w 6203187"/>
              <a:gd name="connsiteY4" fmla="*/ 3747033 h 3747033"/>
              <a:gd name="connsiteX5" fmla="*/ 1648398 w 6203187"/>
              <a:gd name="connsiteY5" fmla="*/ 3747033 h 3747033"/>
              <a:gd name="connsiteX6" fmla="*/ 90252 w 6203187"/>
              <a:gd name="connsiteY6" fmla="*/ 3712887 h 3747033"/>
              <a:gd name="connsiteX7" fmla="*/ 1766653 w 6203187"/>
              <a:gd name="connsiteY7" fmla="*/ 3378 h 3747033"/>
              <a:gd name="connsiteX0" fmla="*/ 1766653 w 6203187"/>
              <a:gd name="connsiteY0" fmla="*/ 0 h 3743655"/>
              <a:gd name="connsiteX1" fmla="*/ 3459707 w 6203187"/>
              <a:gd name="connsiteY1" fmla="*/ 3030788 h 3743655"/>
              <a:gd name="connsiteX2" fmla="*/ 4374386 w 6203187"/>
              <a:gd name="connsiteY2" fmla="*/ 2286000 h 3743655"/>
              <a:gd name="connsiteX3" fmla="*/ 6203187 w 6203187"/>
              <a:gd name="connsiteY3" fmla="*/ 2388709 h 3743655"/>
              <a:gd name="connsiteX4" fmla="*/ 3121041 w 6203187"/>
              <a:gd name="connsiteY4" fmla="*/ 3743655 h 3743655"/>
              <a:gd name="connsiteX5" fmla="*/ 1648398 w 6203187"/>
              <a:gd name="connsiteY5" fmla="*/ 3743655 h 3743655"/>
              <a:gd name="connsiteX6" fmla="*/ 90252 w 6203187"/>
              <a:gd name="connsiteY6" fmla="*/ 3709509 h 3743655"/>
              <a:gd name="connsiteX7" fmla="*/ 1766653 w 6203187"/>
              <a:gd name="connsiteY7" fmla="*/ 0 h 3743655"/>
              <a:gd name="connsiteX0" fmla="*/ 1792556 w 6201099"/>
              <a:gd name="connsiteY0" fmla="*/ 0 h 3780978"/>
              <a:gd name="connsiteX1" fmla="*/ 3457619 w 6201099"/>
              <a:gd name="connsiteY1" fmla="*/ 3068111 h 3780978"/>
              <a:gd name="connsiteX2" fmla="*/ 4372298 w 6201099"/>
              <a:gd name="connsiteY2" fmla="*/ 2323323 h 3780978"/>
              <a:gd name="connsiteX3" fmla="*/ 6201099 w 6201099"/>
              <a:gd name="connsiteY3" fmla="*/ 2426032 h 3780978"/>
              <a:gd name="connsiteX4" fmla="*/ 3118953 w 6201099"/>
              <a:gd name="connsiteY4" fmla="*/ 3780978 h 3780978"/>
              <a:gd name="connsiteX5" fmla="*/ 1646310 w 6201099"/>
              <a:gd name="connsiteY5" fmla="*/ 3780978 h 3780978"/>
              <a:gd name="connsiteX6" fmla="*/ 88164 w 6201099"/>
              <a:gd name="connsiteY6" fmla="*/ 3746832 h 3780978"/>
              <a:gd name="connsiteX7" fmla="*/ 1792556 w 6201099"/>
              <a:gd name="connsiteY7" fmla="*/ 0 h 3780978"/>
              <a:gd name="connsiteX0" fmla="*/ 1813041 w 6221584"/>
              <a:gd name="connsiteY0" fmla="*/ 0 h 3780978"/>
              <a:gd name="connsiteX1" fmla="*/ 3478104 w 6221584"/>
              <a:gd name="connsiteY1" fmla="*/ 3068111 h 3780978"/>
              <a:gd name="connsiteX2" fmla="*/ 4392783 w 6221584"/>
              <a:gd name="connsiteY2" fmla="*/ 2323323 h 3780978"/>
              <a:gd name="connsiteX3" fmla="*/ 6221584 w 6221584"/>
              <a:gd name="connsiteY3" fmla="*/ 2426032 h 3780978"/>
              <a:gd name="connsiteX4" fmla="*/ 3139438 w 6221584"/>
              <a:gd name="connsiteY4" fmla="*/ 3780978 h 3780978"/>
              <a:gd name="connsiteX5" fmla="*/ 1666795 w 6221584"/>
              <a:gd name="connsiteY5" fmla="*/ 3780978 h 3780978"/>
              <a:gd name="connsiteX6" fmla="*/ 108649 w 6221584"/>
              <a:gd name="connsiteY6" fmla="*/ 3746832 h 3780978"/>
              <a:gd name="connsiteX7" fmla="*/ 1813041 w 6221584"/>
              <a:gd name="connsiteY7" fmla="*/ 0 h 3780978"/>
              <a:gd name="connsiteX0" fmla="*/ 1813041 w 6222718"/>
              <a:gd name="connsiteY0" fmla="*/ 0 h 3780978"/>
              <a:gd name="connsiteX1" fmla="*/ 3478104 w 6222718"/>
              <a:gd name="connsiteY1" fmla="*/ 3068111 h 3780978"/>
              <a:gd name="connsiteX2" fmla="*/ 6221584 w 6222718"/>
              <a:gd name="connsiteY2" fmla="*/ 2426032 h 3780978"/>
              <a:gd name="connsiteX3" fmla="*/ 3139438 w 6222718"/>
              <a:gd name="connsiteY3" fmla="*/ 3780978 h 3780978"/>
              <a:gd name="connsiteX4" fmla="*/ 1666795 w 6222718"/>
              <a:gd name="connsiteY4" fmla="*/ 3780978 h 3780978"/>
              <a:gd name="connsiteX5" fmla="*/ 108649 w 6222718"/>
              <a:gd name="connsiteY5" fmla="*/ 3746832 h 3780978"/>
              <a:gd name="connsiteX6" fmla="*/ 1813041 w 6222718"/>
              <a:gd name="connsiteY6" fmla="*/ 0 h 3780978"/>
              <a:gd name="connsiteX0" fmla="*/ 1813041 w 3561059"/>
              <a:gd name="connsiteY0" fmla="*/ 0 h 3780978"/>
              <a:gd name="connsiteX1" fmla="*/ 3478104 w 3561059"/>
              <a:gd name="connsiteY1" fmla="*/ 3068111 h 3780978"/>
              <a:gd name="connsiteX2" fmla="*/ 3139438 w 3561059"/>
              <a:gd name="connsiteY2" fmla="*/ 3780978 h 3780978"/>
              <a:gd name="connsiteX3" fmla="*/ 1666795 w 3561059"/>
              <a:gd name="connsiteY3" fmla="*/ 3780978 h 3780978"/>
              <a:gd name="connsiteX4" fmla="*/ 108649 w 3561059"/>
              <a:gd name="connsiteY4" fmla="*/ 3746832 h 3780978"/>
              <a:gd name="connsiteX5" fmla="*/ 1813041 w 3561059"/>
              <a:gd name="connsiteY5" fmla="*/ 0 h 3780978"/>
              <a:gd name="connsiteX0" fmla="*/ 1813041 w 3600274"/>
              <a:gd name="connsiteY0" fmla="*/ 0 h 3780978"/>
              <a:gd name="connsiteX1" fmla="*/ 3524599 w 3600274"/>
              <a:gd name="connsiteY1" fmla="*/ 2587664 h 3780978"/>
              <a:gd name="connsiteX2" fmla="*/ 3139438 w 3600274"/>
              <a:gd name="connsiteY2" fmla="*/ 3780978 h 3780978"/>
              <a:gd name="connsiteX3" fmla="*/ 1666795 w 3600274"/>
              <a:gd name="connsiteY3" fmla="*/ 3780978 h 3780978"/>
              <a:gd name="connsiteX4" fmla="*/ 108649 w 3600274"/>
              <a:gd name="connsiteY4" fmla="*/ 3746832 h 3780978"/>
              <a:gd name="connsiteX5" fmla="*/ 1813041 w 3600274"/>
              <a:gd name="connsiteY5" fmla="*/ 0 h 3780978"/>
              <a:gd name="connsiteX0" fmla="*/ 1813041 w 3139953"/>
              <a:gd name="connsiteY0" fmla="*/ 0 h 3780978"/>
              <a:gd name="connsiteX1" fmla="*/ 3139438 w 3139953"/>
              <a:gd name="connsiteY1" fmla="*/ 3780978 h 3780978"/>
              <a:gd name="connsiteX2" fmla="*/ 1666795 w 3139953"/>
              <a:gd name="connsiteY2" fmla="*/ 3780978 h 3780978"/>
              <a:gd name="connsiteX3" fmla="*/ 108649 w 3139953"/>
              <a:gd name="connsiteY3" fmla="*/ 3746832 h 3780978"/>
              <a:gd name="connsiteX4" fmla="*/ 1813041 w 3139953"/>
              <a:gd name="connsiteY4" fmla="*/ 0 h 3780978"/>
              <a:gd name="connsiteX0" fmla="*/ 1813041 w 3496385"/>
              <a:gd name="connsiteY0" fmla="*/ 0 h 3780978"/>
              <a:gd name="connsiteX1" fmla="*/ 3139438 w 3496385"/>
              <a:gd name="connsiteY1" fmla="*/ 3780978 h 3780978"/>
              <a:gd name="connsiteX2" fmla="*/ 1666795 w 3496385"/>
              <a:gd name="connsiteY2" fmla="*/ 3780978 h 3780978"/>
              <a:gd name="connsiteX3" fmla="*/ 108649 w 3496385"/>
              <a:gd name="connsiteY3" fmla="*/ 3746832 h 3780978"/>
              <a:gd name="connsiteX4" fmla="*/ 1813041 w 3496385"/>
              <a:gd name="connsiteY4" fmla="*/ 0 h 3780978"/>
              <a:gd name="connsiteX0" fmla="*/ 1813041 w 3524470"/>
              <a:gd name="connsiteY0" fmla="*/ 0 h 3780978"/>
              <a:gd name="connsiteX1" fmla="*/ 3139438 w 3524470"/>
              <a:gd name="connsiteY1" fmla="*/ 3780978 h 3780978"/>
              <a:gd name="connsiteX2" fmla="*/ 1666795 w 3524470"/>
              <a:gd name="connsiteY2" fmla="*/ 3780978 h 3780978"/>
              <a:gd name="connsiteX3" fmla="*/ 108649 w 3524470"/>
              <a:gd name="connsiteY3" fmla="*/ 3746832 h 3780978"/>
              <a:gd name="connsiteX4" fmla="*/ 1813041 w 3524470"/>
              <a:gd name="connsiteY4" fmla="*/ 0 h 3780978"/>
              <a:gd name="connsiteX0" fmla="*/ 1362001 w 3073430"/>
              <a:gd name="connsiteY0" fmla="*/ 0 h 3782539"/>
              <a:gd name="connsiteX1" fmla="*/ 2688398 w 3073430"/>
              <a:gd name="connsiteY1" fmla="*/ 3780978 h 3782539"/>
              <a:gd name="connsiteX2" fmla="*/ 1215755 w 3073430"/>
              <a:gd name="connsiteY2" fmla="*/ 3780978 h 3782539"/>
              <a:gd name="connsiteX3" fmla="*/ 200050 w 3073430"/>
              <a:gd name="connsiteY3" fmla="*/ 3762331 h 3782539"/>
              <a:gd name="connsiteX4" fmla="*/ 1362001 w 3073430"/>
              <a:gd name="connsiteY4" fmla="*/ 0 h 3782539"/>
              <a:gd name="connsiteX0" fmla="*/ 1430877 w 3142306"/>
              <a:gd name="connsiteY0" fmla="*/ 0 h 3782539"/>
              <a:gd name="connsiteX1" fmla="*/ 2757274 w 3142306"/>
              <a:gd name="connsiteY1" fmla="*/ 3780978 h 3782539"/>
              <a:gd name="connsiteX2" fmla="*/ 1284631 w 3142306"/>
              <a:gd name="connsiteY2" fmla="*/ 3780978 h 3782539"/>
              <a:gd name="connsiteX3" fmla="*/ 268926 w 3142306"/>
              <a:gd name="connsiteY3" fmla="*/ 3762331 h 3782539"/>
              <a:gd name="connsiteX4" fmla="*/ 1430877 w 3142306"/>
              <a:gd name="connsiteY4" fmla="*/ 0 h 3782539"/>
              <a:gd name="connsiteX0" fmla="*/ 1430877 w 3142306"/>
              <a:gd name="connsiteY0" fmla="*/ 0 h 21304444"/>
              <a:gd name="connsiteX1" fmla="*/ 2757274 w 3142306"/>
              <a:gd name="connsiteY1" fmla="*/ 3780978 h 21304444"/>
              <a:gd name="connsiteX2" fmla="*/ 1207140 w 3142306"/>
              <a:gd name="connsiteY2" fmla="*/ 21304444 h 21304444"/>
              <a:gd name="connsiteX3" fmla="*/ 268926 w 3142306"/>
              <a:gd name="connsiteY3" fmla="*/ 3762331 h 21304444"/>
              <a:gd name="connsiteX4" fmla="*/ 1430877 w 3142306"/>
              <a:gd name="connsiteY4" fmla="*/ 0 h 21304444"/>
              <a:gd name="connsiteX0" fmla="*/ 1430877 w 3634076"/>
              <a:gd name="connsiteY0" fmla="*/ 0 h 21304444"/>
              <a:gd name="connsiteX1" fmla="*/ 3315213 w 3634076"/>
              <a:gd name="connsiteY1" fmla="*/ 20881175 h 21304444"/>
              <a:gd name="connsiteX2" fmla="*/ 1207140 w 3634076"/>
              <a:gd name="connsiteY2" fmla="*/ 21304444 h 21304444"/>
              <a:gd name="connsiteX3" fmla="*/ 268926 w 3634076"/>
              <a:gd name="connsiteY3" fmla="*/ 3762331 h 21304444"/>
              <a:gd name="connsiteX4" fmla="*/ 1430877 w 3634076"/>
              <a:gd name="connsiteY4" fmla="*/ 0 h 21304444"/>
              <a:gd name="connsiteX0" fmla="*/ 1430877 w 3315213"/>
              <a:gd name="connsiteY0" fmla="*/ 0 h 21304444"/>
              <a:gd name="connsiteX1" fmla="*/ 3315213 w 3315213"/>
              <a:gd name="connsiteY1" fmla="*/ 20881175 h 21304444"/>
              <a:gd name="connsiteX2" fmla="*/ 1207140 w 3315213"/>
              <a:gd name="connsiteY2" fmla="*/ 21304444 h 21304444"/>
              <a:gd name="connsiteX3" fmla="*/ 268926 w 3315213"/>
              <a:gd name="connsiteY3" fmla="*/ 3762331 h 21304444"/>
              <a:gd name="connsiteX4" fmla="*/ 1430877 w 3315213"/>
              <a:gd name="connsiteY4" fmla="*/ 0 h 21304444"/>
              <a:gd name="connsiteX0" fmla="*/ 1430877 w 2710779"/>
              <a:gd name="connsiteY0" fmla="*/ 0 h 21304444"/>
              <a:gd name="connsiteX1" fmla="*/ 2710779 w 2710779"/>
              <a:gd name="connsiteY1" fmla="*/ 20881175 h 21304444"/>
              <a:gd name="connsiteX2" fmla="*/ 1207140 w 2710779"/>
              <a:gd name="connsiteY2" fmla="*/ 21304444 h 21304444"/>
              <a:gd name="connsiteX3" fmla="*/ 268926 w 2710779"/>
              <a:gd name="connsiteY3" fmla="*/ 3762331 h 21304444"/>
              <a:gd name="connsiteX4" fmla="*/ 1430877 w 2710779"/>
              <a:gd name="connsiteY4" fmla="*/ 0 h 21304444"/>
              <a:gd name="connsiteX0" fmla="*/ 1430877 w 3000405"/>
              <a:gd name="connsiteY0" fmla="*/ 0 h 21304444"/>
              <a:gd name="connsiteX1" fmla="*/ 2710779 w 3000405"/>
              <a:gd name="connsiteY1" fmla="*/ 20881175 h 21304444"/>
              <a:gd name="connsiteX2" fmla="*/ 1207140 w 3000405"/>
              <a:gd name="connsiteY2" fmla="*/ 21304444 h 21304444"/>
              <a:gd name="connsiteX3" fmla="*/ 268926 w 3000405"/>
              <a:gd name="connsiteY3" fmla="*/ 3762331 h 21304444"/>
              <a:gd name="connsiteX4" fmla="*/ 1430877 w 3000405"/>
              <a:gd name="connsiteY4" fmla="*/ 0 h 21304444"/>
              <a:gd name="connsiteX0" fmla="*/ 1319553 w 2889081"/>
              <a:gd name="connsiteY0" fmla="*/ 0 h 21375720"/>
              <a:gd name="connsiteX1" fmla="*/ 2599455 w 2889081"/>
              <a:gd name="connsiteY1" fmla="*/ 20881175 h 21375720"/>
              <a:gd name="connsiteX2" fmla="*/ 1095816 w 2889081"/>
              <a:gd name="connsiteY2" fmla="*/ 21304444 h 21375720"/>
              <a:gd name="connsiteX3" fmla="*/ 312585 w 2889081"/>
              <a:gd name="connsiteY3" fmla="*/ 21370449 h 21375720"/>
              <a:gd name="connsiteX4" fmla="*/ 1319553 w 2889081"/>
              <a:gd name="connsiteY4" fmla="*/ 0 h 21375720"/>
              <a:gd name="connsiteX0" fmla="*/ 1319553 w 2889081"/>
              <a:gd name="connsiteY0" fmla="*/ 0 h 21389102"/>
              <a:gd name="connsiteX1" fmla="*/ 2599455 w 2889081"/>
              <a:gd name="connsiteY1" fmla="*/ 21389102 h 21389102"/>
              <a:gd name="connsiteX2" fmla="*/ 1095816 w 2889081"/>
              <a:gd name="connsiteY2" fmla="*/ 21304444 h 21389102"/>
              <a:gd name="connsiteX3" fmla="*/ 312585 w 2889081"/>
              <a:gd name="connsiteY3" fmla="*/ 21370449 h 21389102"/>
              <a:gd name="connsiteX4" fmla="*/ 1319553 w 2889081"/>
              <a:gd name="connsiteY4" fmla="*/ 0 h 21389102"/>
              <a:gd name="connsiteX0" fmla="*/ 1319553 w 2889081"/>
              <a:gd name="connsiteY0" fmla="*/ 0 h 21643060"/>
              <a:gd name="connsiteX1" fmla="*/ 2599455 w 2889081"/>
              <a:gd name="connsiteY1" fmla="*/ 21389102 h 21643060"/>
              <a:gd name="connsiteX2" fmla="*/ 1111314 w 2889081"/>
              <a:gd name="connsiteY2" fmla="*/ 21643060 h 21643060"/>
              <a:gd name="connsiteX3" fmla="*/ 312585 w 2889081"/>
              <a:gd name="connsiteY3" fmla="*/ 21370449 h 21643060"/>
              <a:gd name="connsiteX4" fmla="*/ 1319553 w 2889081"/>
              <a:gd name="connsiteY4" fmla="*/ 0 h 21643060"/>
              <a:gd name="connsiteX0" fmla="*/ 1432201 w 3001729"/>
              <a:gd name="connsiteY0" fmla="*/ 0 h 21643060"/>
              <a:gd name="connsiteX1" fmla="*/ 2712103 w 3001729"/>
              <a:gd name="connsiteY1" fmla="*/ 21389102 h 21643060"/>
              <a:gd name="connsiteX2" fmla="*/ 1223962 w 3001729"/>
              <a:gd name="connsiteY2" fmla="*/ 21643060 h 21643060"/>
              <a:gd name="connsiteX3" fmla="*/ 425233 w 3001729"/>
              <a:gd name="connsiteY3" fmla="*/ 21370449 h 21643060"/>
              <a:gd name="connsiteX4" fmla="*/ 1432201 w 3001729"/>
              <a:gd name="connsiteY4" fmla="*/ 0 h 21643060"/>
              <a:gd name="connsiteX0" fmla="*/ 1432201 w 3131536"/>
              <a:gd name="connsiteY0" fmla="*/ 0 h 21643060"/>
              <a:gd name="connsiteX1" fmla="*/ 2712103 w 3131536"/>
              <a:gd name="connsiteY1" fmla="*/ 21389102 h 21643060"/>
              <a:gd name="connsiteX2" fmla="*/ 1223962 w 3131536"/>
              <a:gd name="connsiteY2" fmla="*/ 21643060 h 21643060"/>
              <a:gd name="connsiteX3" fmla="*/ 425233 w 3131536"/>
              <a:gd name="connsiteY3" fmla="*/ 21370449 h 21643060"/>
              <a:gd name="connsiteX4" fmla="*/ 1432201 w 3131536"/>
              <a:gd name="connsiteY4" fmla="*/ 0 h 21643060"/>
              <a:gd name="connsiteX0" fmla="*/ 1432201 w 3131536"/>
              <a:gd name="connsiteY0" fmla="*/ 0 h 21389102"/>
              <a:gd name="connsiteX1" fmla="*/ 2712103 w 3131536"/>
              <a:gd name="connsiteY1" fmla="*/ 21389102 h 21389102"/>
              <a:gd name="connsiteX2" fmla="*/ 425233 w 3131536"/>
              <a:gd name="connsiteY2" fmla="*/ 21370449 h 21389102"/>
              <a:gd name="connsiteX3" fmla="*/ 1432201 w 3131536"/>
              <a:gd name="connsiteY3" fmla="*/ 0 h 21389102"/>
              <a:gd name="connsiteX0" fmla="*/ 1570161 w 3269496"/>
              <a:gd name="connsiteY0" fmla="*/ 0 h 21455107"/>
              <a:gd name="connsiteX1" fmla="*/ 2850063 w 3269496"/>
              <a:gd name="connsiteY1" fmla="*/ 21389102 h 21455107"/>
              <a:gd name="connsiteX2" fmla="*/ 346216 w 3269496"/>
              <a:gd name="connsiteY2" fmla="*/ 21455107 h 21455107"/>
              <a:gd name="connsiteX3" fmla="*/ 1570161 w 3269496"/>
              <a:gd name="connsiteY3" fmla="*/ 0 h 21455107"/>
              <a:gd name="connsiteX0" fmla="*/ 1601774 w 3265775"/>
              <a:gd name="connsiteY0" fmla="*/ 0 h 21201143"/>
              <a:gd name="connsiteX1" fmla="*/ 2835181 w 3265775"/>
              <a:gd name="connsiteY1" fmla="*/ 21135138 h 21201143"/>
              <a:gd name="connsiteX2" fmla="*/ 331334 w 3265775"/>
              <a:gd name="connsiteY2" fmla="*/ 21201143 h 21201143"/>
              <a:gd name="connsiteX3" fmla="*/ 1601774 w 3265775"/>
              <a:gd name="connsiteY3" fmla="*/ 0 h 21201143"/>
              <a:gd name="connsiteX0" fmla="*/ 1593764 w 3257765"/>
              <a:gd name="connsiteY0" fmla="*/ 0 h 21201143"/>
              <a:gd name="connsiteX1" fmla="*/ 2827171 w 3257765"/>
              <a:gd name="connsiteY1" fmla="*/ 21135138 h 21201143"/>
              <a:gd name="connsiteX2" fmla="*/ 323324 w 3257765"/>
              <a:gd name="connsiteY2" fmla="*/ 21201143 h 21201143"/>
              <a:gd name="connsiteX3" fmla="*/ 1593764 w 3257765"/>
              <a:gd name="connsiteY3" fmla="*/ 0 h 21201143"/>
              <a:gd name="connsiteX0" fmla="*/ 1593764 w 3257765"/>
              <a:gd name="connsiteY0" fmla="*/ 0 h 21201143"/>
              <a:gd name="connsiteX1" fmla="*/ 2827171 w 3257765"/>
              <a:gd name="connsiteY1" fmla="*/ 21135138 h 21201143"/>
              <a:gd name="connsiteX2" fmla="*/ 323324 w 3257765"/>
              <a:gd name="connsiteY2" fmla="*/ 21201143 h 21201143"/>
              <a:gd name="connsiteX3" fmla="*/ 1593764 w 3257765"/>
              <a:gd name="connsiteY3" fmla="*/ 0 h 21201143"/>
              <a:gd name="connsiteX0" fmla="*/ 1652974 w 3316975"/>
              <a:gd name="connsiteY0" fmla="*/ 0 h 21201143"/>
              <a:gd name="connsiteX1" fmla="*/ 2886381 w 3316975"/>
              <a:gd name="connsiteY1" fmla="*/ 21135138 h 21201143"/>
              <a:gd name="connsiteX2" fmla="*/ 382534 w 3316975"/>
              <a:gd name="connsiteY2" fmla="*/ 21201143 h 21201143"/>
              <a:gd name="connsiteX3" fmla="*/ 1652974 w 3316975"/>
              <a:gd name="connsiteY3" fmla="*/ 0 h 21201143"/>
              <a:gd name="connsiteX0" fmla="*/ 1704018 w 3310177"/>
              <a:gd name="connsiteY0" fmla="*/ 0 h 21116490"/>
              <a:gd name="connsiteX1" fmla="*/ 2859934 w 3310177"/>
              <a:gd name="connsiteY1" fmla="*/ 21050485 h 21116490"/>
              <a:gd name="connsiteX2" fmla="*/ 356087 w 3310177"/>
              <a:gd name="connsiteY2" fmla="*/ 21116490 h 21116490"/>
              <a:gd name="connsiteX3" fmla="*/ 1704018 w 3310177"/>
              <a:gd name="connsiteY3" fmla="*/ 0 h 21116490"/>
              <a:gd name="connsiteX0" fmla="*/ 1633089 w 3320596"/>
              <a:gd name="connsiteY0" fmla="*/ 0 h 21031837"/>
              <a:gd name="connsiteX1" fmla="*/ 2897493 w 3320596"/>
              <a:gd name="connsiteY1" fmla="*/ 20965832 h 21031837"/>
              <a:gd name="connsiteX2" fmla="*/ 393646 w 3320596"/>
              <a:gd name="connsiteY2" fmla="*/ 21031837 h 21031837"/>
              <a:gd name="connsiteX3" fmla="*/ 1633089 w 3320596"/>
              <a:gd name="connsiteY3" fmla="*/ 0 h 21031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0596" h="21031837">
                <a:moveTo>
                  <a:pt x="1633089" y="0"/>
                </a:moveTo>
                <a:cubicBezTo>
                  <a:pt x="3192106" y="8490146"/>
                  <a:pt x="3805271" y="14251356"/>
                  <a:pt x="2897493" y="20965832"/>
                </a:cubicBezTo>
                <a:lnTo>
                  <a:pt x="393646" y="21031837"/>
                </a:lnTo>
                <a:cubicBezTo>
                  <a:pt x="-122581" y="20149977"/>
                  <a:pt x="-473563" y="9897093"/>
                  <a:pt x="1633089" y="0"/>
                </a:cubicBezTo>
                <a:close/>
              </a:path>
            </a:pathLst>
          </a:custGeom>
          <a:pattFill prst="pct80">
            <a:fgClr>
              <a:srgbClr val="1C7862"/>
            </a:fgClr>
            <a:bgClr>
              <a:schemeClr val="bg1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13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265FC4F1-7D03-3F4C-8531-0696561032A0}"/>
              </a:ext>
            </a:extLst>
          </p:cNvPr>
          <p:cNvGrpSpPr/>
          <p:nvPr userDrawn="1"/>
        </p:nvGrpSpPr>
        <p:grpSpPr>
          <a:xfrm>
            <a:off x="4595551" y="3099173"/>
            <a:ext cx="3000899" cy="659654"/>
            <a:chOff x="9777392" y="831592"/>
            <a:chExt cx="4001199" cy="977265"/>
          </a:xfrm>
        </p:grpSpPr>
        <p:sp>
          <p:nvSpPr>
            <p:cNvPr id="29" name="object 9">
              <a:extLst>
                <a:ext uri="{FF2B5EF4-FFF2-40B4-BE49-F238E27FC236}">
                  <a16:creationId xmlns:a16="http://schemas.microsoft.com/office/drawing/2014/main" id="{703429F0-8E57-DC4F-82B1-227961E47671}"/>
                </a:ext>
              </a:extLst>
            </p:cNvPr>
            <p:cNvSpPr/>
            <p:nvPr/>
          </p:nvSpPr>
          <p:spPr>
            <a:xfrm>
              <a:off x="9777392" y="831592"/>
              <a:ext cx="988694" cy="977265"/>
            </a:xfrm>
            <a:custGeom>
              <a:avLst/>
              <a:gdLst/>
              <a:ahLst/>
              <a:cxnLst/>
              <a:rect l="l" t="t" r="r" b="b"/>
              <a:pathLst>
                <a:path w="988695" h="977264">
                  <a:moveTo>
                    <a:pt x="230787" y="826765"/>
                  </a:moveTo>
                  <a:lnTo>
                    <a:pt x="217827" y="831614"/>
                  </a:lnTo>
                  <a:lnTo>
                    <a:pt x="207313" y="841108"/>
                  </a:lnTo>
                  <a:lnTo>
                    <a:pt x="201609" y="854740"/>
                  </a:lnTo>
                  <a:lnTo>
                    <a:pt x="201773" y="868981"/>
                  </a:lnTo>
                  <a:lnTo>
                    <a:pt x="258885" y="918161"/>
                  </a:lnTo>
                  <a:lnTo>
                    <a:pt x="303472" y="939438"/>
                  </a:lnTo>
                  <a:lnTo>
                    <a:pt x="350594" y="955862"/>
                  </a:lnTo>
                  <a:lnTo>
                    <a:pt x="399347" y="967504"/>
                  </a:lnTo>
                  <a:lnTo>
                    <a:pt x="448823" y="974436"/>
                  </a:lnTo>
                  <a:lnTo>
                    <a:pt x="498117" y="976731"/>
                  </a:lnTo>
                  <a:lnTo>
                    <a:pt x="544796" y="974539"/>
                  </a:lnTo>
                  <a:lnTo>
                    <a:pt x="590335" y="968072"/>
                  </a:lnTo>
                  <a:lnTo>
                    <a:pt x="634518" y="957496"/>
                  </a:lnTo>
                  <a:lnTo>
                    <a:pt x="677126" y="942976"/>
                  </a:lnTo>
                  <a:lnTo>
                    <a:pt x="717942" y="924680"/>
                  </a:lnTo>
                  <a:lnTo>
                    <a:pt x="755089" y="903706"/>
                  </a:lnTo>
                  <a:lnTo>
                    <a:pt x="498117" y="903706"/>
                  </a:lnTo>
                  <a:lnTo>
                    <a:pt x="447623" y="900878"/>
                  </a:lnTo>
                  <a:lnTo>
                    <a:pt x="397130" y="892353"/>
                  </a:lnTo>
                  <a:lnTo>
                    <a:pt x="347890" y="878068"/>
                  </a:lnTo>
                  <a:lnTo>
                    <a:pt x="301155" y="857963"/>
                  </a:lnTo>
                  <a:lnTo>
                    <a:pt x="258176" y="831976"/>
                  </a:lnTo>
                  <a:lnTo>
                    <a:pt x="244726" y="826804"/>
                  </a:lnTo>
                  <a:lnTo>
                    <a:pt x="230787" y="826765"/>
                  </a:lnTo>
                  <a:close/>
                </a:path>
                <a:path w="988695" h="977264">
                  <a:moveTo>
                    <a:pt x="974072" y="378167"/>
                  </a:moveTo>
                  <a:lnTo>
                    <a:pt x="882813" y="378167"/>
                  </a:lnTo>
                  <a:lnTo>
                    <a:pt x="895606" y="383464"/>
                  </a:lnTo>
                  <a:lnTo>
                    <a:pt x="905957" y="400008"/>
                  </a:lnTo>
                  <a:lnTo>
                    <a:pt x="912887" y="428777"/>
                  </a:lnTo>
                  <a:lnTo>
                    <a:pt x="915414" y="470750"/>
                  </a:lnTo>
                  <a:lnTo>
                    <a:pt x="912743" y="521479"/>
                  </a:lnTo>
                  <a:lnTo>
                    <a:pt x="904962" y="569758"/>
                  </a:lnTo>
                  <a:lnTo>
                    <a:pt x="892421" y="615430"/>
                  </a:lnTo>
                  <a:lnTo>
                    <a:pt x="875471" y="658342"/>
                  </a:lnTo>
                  <a:lnTo>
                    <a:pt x="854462" y="698337"/>
                  </a:lnTo>
                  <a:lnTo>
                    <a:pt x="829743" y="735260"/>
                  </a:lnTo>
                  <a:lnTo>
                    <a:pt x="801665" y="768956"/>
                  </a:lnTo>
                  <a:lnTo>
                    <a:pt x="770578" y="799269"/>
                  </a:lnTo>
                  <a:lnTo>
                    <a:pt x="736832" y="826045"/>
                  </a:lnTo>
                  <a:lnTo>
                    <a:pt x="700777" y="849128"/>
                  </a:lnTo>
                  <a:lnTo>
                    <a:pt x="662762" y="868362"/>
                  </a:lnTo>
                  <a:lnTo>
                    <a:pt x="623139" y="883592"/>
                  </a:lnTo>
                  <a:lnTo>
                    <a:pt x="582257" y="894663"/>
                  </a:lnTo>
                  <a:lnTo>
                    <a:pt x="540467" y="901419"/>
                  </a:lnTo>
                  <a:lnTo>
                    <a:pt x="498117" y="903706"/>
                  </a:lnTo>
                  <a:lnTo>
                    <a:pt x="755089" y="903706"/>
                  </a:lnTo>
                  <a:lnTo>
                    <a:pt x="793320" y="877416"/>
                  </a:lnTo>
                  <a:lnTo>
                    <a:pt x="827447" y="848780"/>
                  </a:lnTo>
                  <a:lnTo>
                    <a:pt x="858908" y="817028"/>
                  </a:lnTo>
                  <a:lnTo>
                    <a:pt x="887485" y="782328"/>
                  </a:lnTo>
                  <a:lnTo>
                    <a:pt x="912959" y="744843"/>
                  </a:lnTo>
                  <a:lnTo>
                    <a:pt x="935113" y="704741"/>
                  </a:lnTo>
                  <a:lnTo>
                    <a:pt x="953729" y="662185"/>
                  </a:lnTo>
                  <a:lnTo>
                    <a:pt x="968587" y="617343"/>
                  </a:lnTo>
                  <a:lnTo>
                    <a:pt x="979471" y="570379"/>
                  </a:lnTo>
                  <a:lnTo>
                    <a:pt x="986161" y="521460"/>
                  </a:lnTo>
                  <a:lnTo>
                    <a:pt x="988439" y="470750"/>
                  </a:lnTo>
                  <a:lnTo>
                    <a:pt x="981460" y="397810"/>
                  </a:lnTo>
                  <a:lnTo>
                    <a:pt x="974072" y="378167"/>
                  </a:lnTo>
                  <a:close/>
                </a:path>
                <a:path w="988695" h="977264">
                  <a:moveTo>
                    <a:pt x="674831" y="439458"/>
                  </a:moveTo>
                  <a:lnTo>
                    <a:pt x="602435" y="439458"/>
                  </a:lnTo>
                  <a:lnTo>
                    <a:pt x="610722" y="459991"/>
                  </a:lnTo>
                  <a:lnTo>
                    <a:pt x="616440" y="498549"/>
                  </a:lnTo>
                  <a:lnTo>
                    <a:pt x="616713" y="553444"/>
                  </a:lnTo>
                  <a:lnTo>
                    <a:pt x="608661" y="622985"/>
                  </a:lnTo>
                  <a:lnTo>
                    <a:pt x="589405" y="705484"/>
                  </a:lnTo>
                  <a:lnTo>
                    <a:pt x="588117" y="722175"/>
                  </a:lnTo>
                  <a:lnTo>
                    <a:pt x="593801" y="737276"/>
                  </a:lnTo>
                  <a:lnTo>
                    <a:pt x="606088" y="748218"/>
                  </a:lnTo>
                  <a:lnTo>
                    <a:pt x="624609" y="752436"/>
                  </a:lnTo>
                  <a:lnTo>
                    <a:pt x="638690" y="749012"/>
                  </a:lnTo>
                  <a:lnTo>
                    <a:pt x="650202" y="739717"/>
                  </a:lnTo>
                  <a:lnTo>
                    <a:pt x="660001" y="726022"/>
                  </a:lnTo>
                  <a:lnTo>
                    <a:pt x="668945" y="709396"/>
                  </a:lnTo>
                  <a:lnTo>
                    <a:pt x="691078" y="663714"/>
                  </a:lnTo>
                  <a:lnTo>
                    <a:pt x="717398" y="611430"/>
                  </a:lnTo>
                  <a:lnTo>
                    <a:pt x="746469" y="556457"/>
                  </a:lnTo>
                  <a:lnTo>
                    <a:pt x="752899" y="545083"/>
                  </a:lnTo>
                  <a:lnTo>
                    <a:pt x="679372" y="545083"/>
                  </a:lnTo>
                  <a:lnTo>
                    <a:pt x="681501" y="479935"/>
                  </a:lnTo>
                  <a:lnTo>
                    <a:pt x="674831" y="439458"/>
                  </a:lnTo>
                  <a:close/>
                </a:path>
                <a:path w="988695" h="977264">
                  <a:moveTo>
                    <a:pt x="500721" y="0"/>
                  </a:moveTo>
                  <a:lnTo>
                    <a:pt x="451696" y="2224"/>
                  </a:lnTo>
                  <a:lnTo>
                    <a:pt x="404161" y="8753"/>
                  </a:lnTo>
                  <a:lnTo>
                    <a:pt x="358308" y="19370"/>
                  </a:lnTo>
                  <a:lnTo>
                    <a:pt x="314328" y="33858"/>
                  </a:lnTo>
                  <a:lnTo>
                    <a:pt x="272412" y="52002"/>
                  </a:lnTo>
                  <a:lnTo>
                    <a:pt x="232751" y="73583"/>
                  </a:lnTo>
                  <a:lnTo>
                    <a:pt x="195537" y="98386"/>
                  </a:lnTo>
                  <a:lnTo>
                    <a:pt x="160959" y="126195"/>
                  </a:lnTo>
                  <a:lnTo>
                    <a:pt x="129210" y="156792"/>
                  </a:lnTo>
                  <a:lnTo>
                    <a:pt x="100481" y="189961"/>
                  </a:lnTo>
                  <a:lnTo>
                    <a:pt x="74962" y="225486"/>
                  </a:lnTo>
                  <a:lnTo>
                    <a:pt x="52845" y="263149"/>
                  </a:lnTo>
                  <a:lnTo>
                    <a:pt x="34320" y="302735"/>
                  </a:lnTo>
                  <a:lnTo>
                    <a:pt x="19580" y="344026"/>
                  </a:lnTo>
                  <a:lnTo>
                    <a:pt x="8814" y="386807"/>
                  </a:lnTo>
                  <a:lnTo>
                    <a:pt x="2215" y="430861"/>
                  </a:lnTo>
                  <a:lnTo>
                    <a:pt x="0" y="475431"/>
                  </a:lnTo>
                  <a:lnTo>
                    <a:pt x="75" y="479935"/>
                  </a:lnTo>
                  <a:lnTo>
                    <a:pt x="5522" y="559493"/>
                  </a:lnTo>
                  <a:lnTo>
                    <a:pt x="16591" y="614088"/>
                  </a:lnTo>
                  <a:lnTo>
                    <a:pt x="36861" y="671563"/>
                  </a:lnTo>
                  <a:lnTo>
                    <a:pt x="69086" y="727659"/>
                  </a:lnTo>
                  <a:lnTo>
                    <a:pt x="95169" y="742653"/>
                  </a:lnTo>
                  <a:lnTo>
                    <a:pt x="110531" y="740126"/>
                  </a:lnTo>
                  <a:lnTo>
                    <a:pt x="125157" y="730262"/>
                  </a:lnTo>
                  <a:lnTo>
                    <a:pt x="208600" y="646798"/>
                  </a:lnTo>
                  <a:lnTo>
                    <a:pt x="105599" y="646798"/>
                  </a:lnTo>
                  <a:lnTo>
                    <a:pt x="91150" y="607415"/>
                  </a:lnTo>
                  <a:lnTo>
                    <a:pt x="80983" y="566440"/>
                  </a:lnTo>
                  <a:lnTo>
                    <a:pt x="74973" y="525220"/>
                  </a:lnTo>
                  <a:lnTo>
                    <a:pt x="72998" y="485101"/>
                  </a:lnTo>
                  <a:lnTo>
                    <a:pt x="75603" y="439458"/>
                  </a:lnTo>
                  <a:lnTo>
                    <a:pt x="83415" y="393703"/>
                  </a:lnTo>
                  <a:lnTo>
                    <a:pt x="96119" y="350016"/>
                  </a:lnTo>
                  <a:lnTo>
                    <a:pt x="113540" y="308168"/>
                  </a:lnTo>
                  <a:lnTo>
                    <a:pt x="135467" y="268533"/>
                  </a:lnTo>
                  <a:lnTo>
                    <a:pt x="161687" y="231484"/>
                  </a:lnTo>
                  <a:lnTo>
                    <a:pt x="191990" y="197396"/>
                  </a:lnTo>
                  <a:lnTo>
                    <a:pt x="226166" y="166640"/>
                  </a:lnTo>
                  <a:lnTo>
                    <a:pt x="264003" y="139592"/>
                  </a:lnTo>
                  <a:lnTo>
                    <a:pt x="305290" y="116623"/>
                  </a:lnTo>
                  <a:lnTo>
                    <a:pt x="349816" y="98109"/>
                  </a:lnTo>
                  <a:lnTo>
                    <a:pt x="397371" y="84422"/>
                  </a:lnTo>
                  <a:lnTo>
                    <a:pt x="447743" y="75936"/>
                  </a:lnTo>
                  <a:lnTo>
                    <a:pt x="500721" y="73024"/>
                  </a:lnTo>
                  <a:lnTo>
                    <a:pt x="753376" y="73024"/>
                  </a:lnTo>
                  <a:lnTo>
                    <a:pt x="726488" y="57303"/>
                  </a:lnTo>
                  <a:lnTo>
                    <a:pt x="683290" y="37163"/>
                  </a:lnTo>
                  <a:lnTo>
                    <a:pt x="638625" y="21179"/>
                  </a:lnTo>
                  <a:lnTo>
                    <a:pt x="592983" y="9535"/>
                  </a:lnTo>
                  <a:lnTo>
                    <a:pt x="546852" y="2414"/>
                  </a:lnTo>
                  <a:lnTo>
                    <a:pt x="500721" y="0"/>
                  </a:lnTo>
                  <a:close/>
                </a:path>
                <a:path w="988695" h="977264">
                  <a:moveTo>
                    <a:pt x="601140" y="366433"/>
                  </a:moveTo>
                  <a:lnTo>
                    <a:pt x="564938" y="375530"/>
                  </a:lnTo>
                  <a:lnTo>
                    <a:pt x="534058" y="399775"/>
                  </a:lnTo>
                  <a:lnTo>
                    <a:pt x="505370" y="434598"/>
                  </a:lnTo>
                  <a:lnTo>
                    <a:pt x="475743" y="475431"/>
                  </a:lnTo>
                  <a:lnTo>
                    <a:pt x="442047" y="517702"/>
                  </a:lnTo>
                  <a:lnTo>
                    <a:pt x="403698" y="557025"/>
                  </a:lnTo>
                  <a:lnTo>
                    <a:pt x="365104" y="588770"/>
                  </a:lnTo>
                  <a:lnTo>
                    <a:pt x="329444" y="609758"/>
                  </a:lnTo>
                  <a:lnTo>
                    <a:pt x="279360" y="619418"/>
                  </a:lnTo>
                  <a:lnTo>
                    <a:pt x="264691" y="627892"/>
                  </a:lnTo>
                  <a:lnTo>
                    <a:pt x="255890" y="640279"/>
                  </a:lnTo>
                  <a:lnTo>
                    <a:pt x="252957" y="654621"/>
                  </a:lnTo>
                  <a:lnTo>
                    <a:pt x="256420" y="670030"/>
                  </a:lnTo>
                  <a:lnTo>
                    <a:pt x="265996" y="681035"/>
                  </a:lnTo>
                  <a:lnTo>
                    <a:pt x="280464" y="687638"/>
                  </a:lnTo>
                  <a:lnTo>
                    <a:pt x="298600" y="689838"/>
                  </a:lnTo>
                  <a:lnTo>
                    <a:pt x="343330" y="683057"/>
                  </a:lnTo>
                  <a:lnTo>
                    <a:pt x="386997" y="665009"/>
                  </a:lnTo>
                  <a:lnTo>
                    <a:pt x="427599" y="639136"/>
                  </a:lnTo>
                  <a:lnTo>
                    <a:pt x="463131" y="608880"/>
                  </a:lnTo>
                  <a:lnTo>
                    <a:pt x="491590" y="577684"/>
                  </a:lnTo>
                  <a:lnTo>
                    <a:pt x="529269" y="527667"/>
                  </a:lnTo>
                  <a:lnTo>
                    <a:pt x="559243" y="485592"/>
                  </a:lnTo>
                  <a:lnTo>
                    <a:pt x="583101" y="455007"/>
                  </a:lnTo>
                  <a:lnTo>
                    <a:pt x="602435" y="439458"/>
                  </a:lnTo>
                  <a:lnTo>
                    <a:pt x="674831" y="439458"/>
                  </a:lnTo>
                  <a:lnTo>
                    <a:pt x="673240" y="429809"/>
                  </a:lnTo>
                  <a:lnTo>
                    <a:pt x="656091" y="394391"/>
                  </a:lnTo>
                  <a:lnTo>
                    <a:pt x="631557" y="373370"/>
                  </a:lnTo>
                  <a:lnTo>
                    <a:pt x="601140" y="366433"/>
                  </a:lnTo>
                  <a:close/>
                </a:path>
                <a:path w="988695" h="977264">
                  <a:moveTo>
                    <a:pt x="504633" y="306450"/>
                  </a:moveTo>
                  <a:lnTo>
                    <a:pt x="361186" y="306450"/>
                  </a:lnTo>
                  <a:lnTo>
                    <a:pt x="379588" y="307693"/>
                  </a:lnTo>
                  <a:lnTo>
                    <a:pt x="395909" y="311502"/>
                  </a:lnTo>
                  <a:lnTo>
                    <a:pt x="410519" y="318002"/>
                  </a:lnTo>
                  <a:lnTo>
                    <a:pt x="423784" y="327317"/>
                  </a:lnTo>
                  <a:lnTo>
                    <a:pt x="105599" y="646798"/>
                  </a:lnTo>
                  <a:lnTo>
                    <a:pt x="208600" y="646798"/>
                  </a:lnTo>
                  <a:lnTo>
                    <a:pt x="333721" y="521460"/>
                  </a:lnTo>
                  <a:lnTo>
                    <a:pt x="502029" y="352082"/>
                  </a:lnTo>
                  <a:lnTo>
                    <a:pt x="508671" y="341833"/>
                  </a:lnTo>
                  <a:lnTo>
                    <a:pt x="511156" y="329752"/>
                  </a:lnTo>
                  <a:lnTo>
                    <a:pt x="509728" y="317427"/>
                  </a:lnTo>
                  <a:lnTo>
                    <a:pt x="504633" y="306450"/>
                  </a:lnTo>
                  <a:close/>
                </a:path>
                <a:path w="988695" h="977264">
                  <a:moveTo>
                    <a:pt x="882813" y="303834"/>
                  </a:moveTo>
                  <a:lnTo>
                    <a:pt x="825829" y="324061"/>
                  </a:lnTo>
                  <a:lnTo>
                    <a:pt x="795764" y="349105"/>
                  </a:lnTo>
                  <a:lnTo>
                    <a:pt x="765470" y="383889"/>
                  </a:lnTo>
                  <a:lnTo>
                    <a:pt x="735563" y="428254"/>
                  </a:lnTo>
                  <a:lnTo>
                    <a:pt x="706659" y="482038"/>
                  </a:lnTo>
                  <a:lnTo>
                    <a:pt x="679372" y="545083"/>
                  </a:lnTo>
                  <a:lnTo>
                    <a:pt x="752899" y="545083"/>
                  </a:lnTo>
                  <a:lnTo>
                    <a:pt x="776856" y="502705"/>
                  </a:lnTo>
                  <a:lnTo>
                    <a:pt x="807120" y="454088"/>
                  </a:lnTo>
                  <a:lnTo>
                    <a:pt x="835825" y="414518"/>
                  </a:lnTo>
                  <a:lnTo>
                    <a:pt x="861535" y="387907"/>
                  </a:lnTo>
                  <a:lnTo>
                    <a:pt x="882813" y="378167"/>
                  </a:lnTo>
                  <a:lnTo>
                    <a:pt x="974072" y="378167"/>
                  </a:lnTo>
                  <a:lnTo>
                    <a:pt x="963278" y="349467"/>
                  </a:lnTo>
                  <a:lnTo>
                    <a:pt x="938022" y="320903"/>
                  </a:lnTo>
                  <a:lnTo>
                    <a:pt x="909823" y="307298"/>
                  </a:lnTo>
                  <a:lnTo>
                    <a:pt x="882813" y="303834"/>
                  </a:lnTo>
                  <a:close/>
                </a:path>
                <a:path w="988695" h="977264">
                  <a:moveTo>
                    <a:pt x="358583" y="232117"/>
                  </a:moveTo>
                  <a:lnTo>
                    <a:pt x="313631" y="237906"/>
                  </a:lnTo>
                  <a:lnTo>
                    <a:pt x="271599" y="254224"/>
                  </a:lnTo>
                  <a:lnTo>
                    <a:pt x="233815" y="279497"/>
                  </a:lnTo>
                  <a:lnTo>
                    <a:pt x="201609" y="312151"/>
                  </a:lnTo>
                  <a:lnTo>
                    <a:pt x="176310" y="350612"/>
                  </a:lnTo>
                  <a:lnTo>
                    <a:pt x="159249" y="393307"/>
                  </a:lnTo>
                  <a:lnTo>
                    <a:pt x="151753" y="438661"/>
                  </a:lnTo>
                  <a:lnTo>
                    <a:pt x="155154" y="485101"/>
                  </a:lnTo>
                  <a:lnTo>
                    <a:pt x="160390" y="498957"/>
                  </a:lnTo>
                  <a:lnTo>
                    <a:pt x="169661" y="508901"/>
                  </a:lnTo>
                  <a:lnTo>
                    <a:pt x="182107" y="514444"/>
                  </a:lnTo>
                  <a:lnTo>
                    <a:pt x="196873" y="515099"/>
                  </a:lnTo>
                  <a:lnTo>
                    <a:pt x="209980" y="509637"/>
                  </a:lnTo>
                  <a:lnTo>
                    <a:pt x="219538" y="499773"/>
                  </a:lnTo>
                  <a:lnTo>
                    <a:pt x="224936" y="486485"/>
                  </a:lnTo>
                  <a:lnTo>
                    <a:pt x="225563" y="470750"/>
                  </a:lnTo>
                  <a:lnTo>
                    <a:pt x="227776" y="422120"/>
                  </a:lnTo>
                  <a:lnTo>
                    <a:pt x="246075" y="377431"/>
                  </a:lnTo>
                  <a:lnTo>
                    <a:pt x="276830" y="340627"/>
                  </a:lnTo>
                  <a:lnTo>
                    <a:pt x="316411" y="315652"/>
                  </a:lnTo>
                  <a:lnTo>
                    <a:pt x="361186" y="306450"/>
                  </a:lnTo>
                  <a:lnTo>
                    <a:pt x="504633" y="306450"/>
                  </a:lnTo>
                  <a:lnTo>
                    <a:pt x="474845" y="274476"/>
                  </a:lnTo>
                  <a:lnTo>
                    <a:pt x="439432" y="251186"/>
                  </a:lnTo>
                  <a:lnTo>
                    <a:pt x="400107" y="236945"/>
                  </a:lnTo>
                  <a:lnTo>
                    <a:pt x="358583" y="232117"/>
                  </a:lnTo>
                  <a:close/>
                </a:path>
                <a:path w="988695" h="977264">
                  <a:moveTo>
                    <a:pt x="753376" y="73024"/>
                  </a:moveTo>
                  <a:lnTo>
                    <a:pt x="500721" y="73024"/>
                  </a:lnTo>
                  <a:lnTo>
                    <a:pt x="545170" y="75841"/>
                  </a:lnTo>
                  <a:lnTo>
                    <a:pt x="589800" y="84064"/>
                  </a:lnTo>
                  <a:lnTo>
                    <a:pt x="633997" y="97350"/>
                  </a:lnTo>
                  <a:lnTo>
                    <a:pt x="677144" y="115359"/>
                  </a:lnTo>
                  <a:lnTo>
                    <a:pt x="718626" y="137747"/>
                  </a:lnTo>
                  <a:lnTo>
                    <a:pt x="757826" y="164174"/>
                  </a:lnTo>
                  <a:lnTo>
                    <a:pt x="794129" y="194297"/>
                  </a:lnTo>
                  <a:lnTo>
                    <a:pt x="806297" y="201613"/>
                  </a:lnTo>
                  <a:lnTo>
                    <a:pt x="844993" y="192989"/>
                  </a:lnTo>
                  <a:lnTo>
                    <a:pt x="853959" y="166914"/>
                  </a:lnTo>
                  <a:lnTo>
                    <a:pt x="850679" y="153018"/>
                  </a:lnTo>
                  <a:lnTo>
                    <a:pt x="842389" y="140830"/>
                  </a:lnTo>
                  <a:lnTo>
                    <a:pt x="806526" y="109320"/>
                  </a:lnTo>
                  <a:lnTo>
                    <a:pt x="767729" y="81417"/>
                  </a:lnTo>
                  <a:lnTo>
                    <a:pt x="753376" y="73024"/>
                  </a:lnTo>
                  <a:close/>
                </a:path>
              </a:pathLst>
            </a:custGeom>
            <a:solidFill>
              <a:srgbClr val="FFDD00"/>
            </a:solidFill>
          </p:spPr>
          <p:txBody>
            <a:bodyPr wrap="square" lIns="0" tIns="0" rIns="0" bIns="0" rtlCol="0"/>
            <a:lstStyle/>
            <a:p>
              <a:endParaRPr sz="1215"/>
            </a:p>
          </p:txBody>
        </p:sp>
        <p:pic>
          <p:nvPicPr>
            <p:cNvPr id="30" name="object 12">
              <a:extLst>
                <a:ext uri="{FF2B5EF4-FFF2-40B4-BE49-F238E27FC236}">
                  <a16:creationId xmlns:a16="http://schemas.microsoft.com/office/drawing/2014/main" id="{E8B18556-1B01-544D-BE3A-080049D73FC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066964" y="1041400"/>
              <a:ext cx="2711627" cy="49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533147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>
            <a:extLst>
              <a:ext uri="{FF2B5EF4-FFF2-40B4-BE49-F238E27FC236}">
                <a16:creationId xmlns:a16="http://schemas.microsoft.com/office/drawing/2014/main" id="{07DED249-11B6-B14C-8033-773B326BE446}"/>
              </a:ext>
            </a:extLst>
          </p:cNvPr>
          <p:cNvSpPr/>
          <p:nvPr userDrawn="1"/>
        </p:nvSpPr>
        <p:spPr>
          <a:xfrm>
            <a:off x="0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rgbClr val="1C786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CEE7E22E-A620-E24B-903B-5EB918795D14}"/>
              </a:ext>
            </a:extLst>
          </p:cNvPr>
          <p:cNvSpPr/>
          <p:nvPr userDrawn="1"/>
        </p:nvSpPr>
        <p:spPr>
          <a:xfrm>
            <a:off x="4064002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rgbClr val="00B685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5C53861E-8290-B94D-A532-201EECE8598D}"/>
              </a:ext>
            </a:extLst>
          </p:cNvPr>
          <p:cNvSpPr/>
          <p:nvPr userDrawn="1"/>
        </p:nvSpPr>
        <p:spPr>
          <a:xfrm>
            <a:off x="8127997" y="0"/>
            <a:ext cx="4064318" cy="6858000"/>
          </a:xfrm>
          <a:custGeom>
            <a:avLst/>
            <a:gdLst/>
            <a:ahLst/>
            <a:cxnLst/>
            <a:rect l="l" t="t" r="r" b="b"/>
            <a:pathLst>
              <a:path w="5419090" h="10160000">
                <a:moveTo>
                  <a:pt x="5418670" y="0"/>
                </a:moveTo>
                <a:lnTo>
                  <a:pt x="0" y="0"/>
                </a:lnTo>
                <a:lnTo>
                  <a:pt x="0" y="10160000"/>
                </a:lnTo>
                <a:lnTo>
                  <a:pt x="5418670" y="10160000"/>
                </a:lnTo>
                <a:lnTo>
                  <a:pt x="541867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4" y="290856"/>
            <a:ext cx="7784780" cy="727122"/>
          </a:xfrm>
        </p:spPr>
        <p:txBody>
          <a:bodyPr/>
          <a:lstStyle>
            <a:lvl1pPr>
              <a:defRPr lang="fr-FR" sz="4725" b="1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>
                <a:effectLst/>
                <a:latin typeface="Baloo 2" pitchFamily="2" charset="77"/>
              </a:rPr>
              <a:t>Sommaire</a:t>
            </a:r>
            <a:endParaRPr lang="fr-FR"/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E681F0E9-C056-1742-A78A-5D123E6CDC4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6" name="Espace réservé du texte 48">
            <a:extLst>
              <a:ext uri="{FF2B5EF4-FFF2-40B4-BE49-F238E27FC236}">
                <a16:creationId xmlns:a16="http://schemas.microsoft.com/office/drawing/2014/main" id="{93DA28FB-1D69-3A43-BE8D-61494C7E07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86548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28" name="Espace réservé du texte 48">
            <a:extLst>
              <a:ext uri="{FF2B5EF4-FFF2-40B4-BE49-F238E27FC236}">
                <a16:creationId xmlns:a16="http://schemas.microsoft.com/office/drawing/2014/main" id="{BA35FE47-FB85-9A4E-8ABE-2EDFE7A880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74660" y="2960423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0" name="Espace réservé du texte 48">
            <a:extLst>
              <a:ext uri="{FF2B5EF4-FFF2-40B4-BE49-F238E27FC236}">
                <a16:creationId xmlns:a16="http://schemas.microsoft.com/office/drawing/2014/main" id="{EE083E7E-79C2-494F-9CBF-047DCEF6A8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6548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5" name="Espace réservé du texte 48">
            <a:extLst>
              <a:ext uri="{FF2B5EF4-FFF2-40B4-BE49-F238E27FC236}">
                <a16:creationId xmlns:a16="http://schemas.microsoft.com/office/drawing/2014/main" id="{523539CB-E8EF-0442-9B39-C1EAEEF5B2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53377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6" name="Espace réservé du texte 48">
            <a:extLst>
              <a:ext uri="{FF2B5EF4-FFF2-40B4-BE49-F238E27FC236}">
                <a16:creationId xmlns:a16="http://schemas.microsoft.com/office/drawing/2014/main" id="{1880F3D0-EFE6-FB42-88F8-078AA05A25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1489" y="2960423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37" name="Espace réservé du texte 48">
            <a:extLst>
              <a:ext uri="{FF2B5EF4-FFF2-40B4-BE49-F238E27FC236}">
                <a16:creationId xmlns:a16="http://schemas.microsoft.com/office/drawing/2014/main" id="{FB16BB0D-20D6-C543-A4EA-13963B14D0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53377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1" name="Espace réservé du texte 48">
            <a:extLst>
              <a:ext uri="{FF2B5EF4-FFF2-40B4-BE49-F238E27FC236}">
                <a16:creationId xmlns:a16="http://schemas.microsoft.com/office/drawing/2014/main" id="{CA1697B9-B294-1B46-A2AF-384D9DE07A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2589" y="172884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2" name="Espace réservé du texte 48">
            <a:extLst>
              <a:ext uri="{FF2B5EF4-FFF2-40B4-BE49-F238E27FC236}">
                <a16:creationId xmlns:a16="http://schemas.microsoft.com/office/drawing/2014/main" id="{13FD1D28-A30C-524D-A5BF-5143BA416E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05492" y="2963285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3" name="Espace réservé du texte 48">
            <a:extLst>
              <a:ext uri="{FF2B5EF4-FFF2-40B4-BE49-F238E27FC236}">
                <a16:creationId xmlns:a16="http://schemas.microsoft.com/office/drawing/2014/main" id="{84583539-F8DE-164E-934A-2B4AF5D4EC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27277" y="4207949"/>
            <a:ext cx="1721644" cy="825803"/>
          </a:xfrm>
        </p:spPr>
        <p:txBody>
          <a:bodyPr/>
          <a:lstStyle>
            <a:lvl1pPr marL="8573" marR="3429" algn="l">
              <a:lnSpc>
                <a:spcPct val="127200"/>
              </a:lnSpc>
              <a:spcBef>
                <a:spcPts val="68"/>
              </a:spcBef>
              <a:defRPr sz="108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12700" marR="5080">
              <a:lnSpc>
                <a:spcPct val="127200"/>
              </a:lnSpc>
              <a:spcBef>
                <a:spcPts val="100"/>
              </a:spcBef>
            </a:pP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Titre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sur 4 lignes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maximum</a:t>
            </a:r>
            <a:r>
              <a:rPr lang="fr-FR" sz="1080" b="1" spc="-24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/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10">
                <a:solidFill>
                  <a:srgbClr val="FFFFFF"/>
                </a:solidFill>
                <a:latin typeface="Montserrat"/>
                <a:cs typeface="Montserrat"/>
              </a:rPr>
              <a:t>Typo</a:t>
            </a:r>
            <a:r>
              <a:rPr lang="fr-FR" sz="1080" b="1" spc="-20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 </a:t>
            </a:r>
            <a:r>
              <a:rPr lang="fr-FR" sz="1080" b="1" spc="-29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Montserrat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Bold </a:t>
            </a:r>
            <a:r>
              <a:rPr lang="fr-FR" sz="1080" b="1" spc="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Corps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:</a:t>
            </a:r>
            <a:r>
              <a:rPr lang="fr-FR" sz="1080" b="1" spc="-3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16</a:t>
            </a:r>
            <a:r>
              <a:rPr lang="fr-FR" sz="1080" b="1" spc="-7">
                <a:solidFill>
                  <a:srgbClr val="FFFFFF"/>
                </a:solidFill>
                <a:latin typeface="Montserrat"/>
                <a:cs typeface="Montserrat"/>
              </a:rPr>
              <a:t> </a:t>
            </a:r>
            <a:r>
              <a:rPr lang="fr-FR" sz="1080" b="1">
                <a:solidFill>
                  <a:srgbClr val="FFFFFF"/>
                </a:solidFill>
                <a:latin typeface="Montserrat"/>
                <a:cs typeface="Montserrat"/>
              </a:rPr>
              <a:t>pt</a:t>
            </a:r>
            <a:endParaRPr lang="fr-FR" sz="1080">
              <a:latin typeface="Montserrat"/>
              <a:cs typeface="Montserra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7CC105BB-F11C-6149-A4CD-81F583C9EF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584" y="171498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1.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B430C98-0CE4-FC44-910F-FE0B566EB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192" y="3010488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2.</a:t>
            </a: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CEC33AE4-F3D6-3E42-917D-E261FC9047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431" y="425196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3.</a:t>
            </a:r>
          </a:p>
        </p:txBody>
      </p:sp>
      <p:sp>
        <p:nvSpPr>
          <p:cNvPr id="52" name="Espace réservé du texte 2">
            <a:extLst>
              <a:ext uri="{FF2B5EF4-FFF2-40B4-BE49-F238E27FC236}">
                <a16:creationId xmlns:a16="http://schemas.microsoft.com/office/drawing/2014/main" id="{EE4B7000-D214-764A-B8AD-ABEA0A28E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29161" y="301752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5.</a:t>
            </a: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FD4C2687-75CD-BD4F-8F1C-76A958F6BE4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4400" y="425899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6.</a:t>
            </a:r>
          </a:p>
        </p:txBody>
      </p:sp>
      <p:sp>
        <p:nvSpPr>
          <p:cNvPr id="54" name="Espace réservé du texte 2">
            <a:extLst>
              <a:ext uri="{FF2B5EF4-FFF2-40B4-BE49-F238E27FC236}">
                <a16:creationId xmlns:a16="http://schemas.microsoft.com/office/drawing/2014/main" id="{635257B4-B304-C349-95E6-46284B5FAF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78263" y="1731645"/>
            <a:ext cx="726131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4.</a:t>
            </a:r>
          </a:p>
        </p:txBody>
      </p:sp>
      <p:sp>
        <p:nvSpPr>
          <p:cNvPr id="59" name="Espace réservé du texte 2">
            <a:extLst>
              <a:ext uri="{FF2B5EF4-FFF2-40B4-BE49-F238E27FC236}">
                <a16:creationId xmlns:a16="http://schemas.microsoft.com/office/drawing/2014/main" id="{DF86A3CF-5A25-864C-AA8F-4CDF412C2D0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61498" y="3017520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8.</a:t>
            </a:r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438881CC-67E1-9D48-96E4-949CCCACCF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56737" y="4258992"/>
            <a:ext cx="628834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9.</a:t>
            </a: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D6A44365-5494-A549-8FAB-73E904EF86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67750" y="1731645"/>
            <a:ext cx="726131" cy="727122"/>
          </a:xfrm>
        </p:spPr>
        <p:txBody>
          <a:bodyPr/>
          <a:lstStyle>
            <a:lvl1pPr>
              <a:defRPr sz="472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7.</a:t>
            </a:r>
          </a:p>
        </p:txBody>
      </p:sp>
    </p:spTree>
    <p:extLst>
      <p:ext uri="{BB962C8B-B14F-4D97-AF65-F5344CB8AC3E}">
        <p14:creationId xmlns:p14="http://schemas.microsoft.com/office/powerpoint/2010/main" val="51185201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ddd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-42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284031"/>
            <a:ext cx="8343900" cy="830997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5400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B113BDA2-077F-374B-B218-78A1B9DE9126}"/>
              </a:ext>
            </a:extLst>
          </p:cNvPr>
          <p:cNvSpPr/>
          <p:nvPr userDrawn="1"/>
        </p:nvSpPr>
        <p:spPr>
          <a:xfrm>
            <a:off x="7239000" y="3711892"/>
            <a:ext cx="4289584" cy="3146108"/>
          </a:xfrm>
          <a:custGeom>
            <a:avLst/>
            <a:gdLst/>
            <a:ahLst/>
            <a:cxnLst/>
            <a:rect l="l" t="t" r="r" b="b"/>
            <a:pathLst>
              <a:path w="5719444" h="4660900">
                <a:moveTo>
                  <a:pt x="1490383" y="4064000"/>
                </a:moveTo>
                <a:lnTo>
                  <a:pt x="1485468" y="4013200"/>
                </a:lnTo>
                <a:lnTo>
                  <a:pt x="1471383" y="3975100"/>
                </a:lnTo>
                <a:lnTo>
                  <a:pt x="1449082" y="3924300"/>
                </a:lnTo>
                <a:lnTo>
                  <a:pt x="1419555" y="3898900"/>
                </a:lnTo>
                <a:lnTo>
                  <a:pt x="1383766" y="3860800"/>
                </a:lnTo>
                <a:lnTo>
                  <a:pt x="1342694" y="3835400"/>
                </a:lnTo>
                <a:lnTo>
                  <a:pt x="1297305" y="3822700"/>
                </a:lnTo>
                <a:lnTo>
                  <a:pt x="1199845" y="3822700"/>
                </a:lnTo>
                <a:lnTo>
                  <a:pt x="1154455" y="3835400"/>
                </a:lnTo>
                <a:lnTo>
                  <a:pt x="1113370" y="3860800"/>
                </a:lnTo>
                <a:lnTo>
                  <a:pt x="1077595" y="3898900"/>
                </a:lnTo>
                <a:lnTo>
                  <a:pt x="1048067" y="3924300"/>
                </a:lnTo>
                <a:lnTo>
                  <a:pt x="1025766" y="3975100"/>
                </a:lnTo>
                <a:lnTo>
                  <a:pt x="1011682" y="4013200"/>
                </a:lnTo>
                <a:lnTo>
                  <a:pt x="1006767" y="4064000"/>
                </a:lnTo>
                <a:lnTo>
                  <a:pt x="1006767" y="4660900"/>
                </a:lnTo>
                <a:lnTo>
                  <a:pt x="1490383" y="4660900"/>
                </a:lnTo>
                <a:lnTo>
                  <a:pt x="1490383" y="4064000"/>
                </a:lnTo>
                <a:close/>
              </a:path>
              <a:path w="5719444" h="4660900">
                <a:moveTo>
                  <a:pt x="3685768" y="2813748"/>
                </a:moveTo>
                <a:lnTo>
                  <a:pt x="3682377" y="2766060"/>
                </a:lnTo>
                <a:lnTo>
                  <a:pt x="3669588" y="2719755"/>
                </a:lnTo>
                <a:lnTo>
                  <a:pt x="3647516" y="2676296"/>
                </a:lnTo>
                <a:lnTo>
                  <a:pt x="3617176" y="2638145"/>
                </a:lnTo>
                <a:lnTo>
                  <a:pt x="3580384" y="2607259"/>
                </a:lnTo>
                <a:lnTo>
                  <a:pt x="3538410" y="2584323"/>
                </a:lnTo>
                <a:lnTo>
                  <a:pt x="3492550" y="2570061"/>
                </a:lnTo>
                <a:lnTo>
                  <a:pt x="3444049" y="2565158"/>
                </a:lnTo>
                <a:lnTo>
                  <a:pt x="2631490" y="2565158"/>
                </a:lnTo>
                <a:lnTo>
                  <a:pt x="3087065" y="1603819"/>
                </a:lnTo>
                <a:lnTo>
                  <a:pt x="3103486" y="1557667"/>
                </a:lnTo>
                <a:lnTo>
                  <a:pt x="3110192" y="1510626"/>
                </a:lnTo>
                <a:lnTo>
                  <a:pt x="3107639" y="1463954"/>
                </a:lnTo>
                <a:lnTo>
                  <a:pt x="3096272" y="1418971"/>
                </a:lnTo>
                <a:lnTo>
                  <a:pt x="3076575" y="1376959"/>
                </a:lnTo>
                <a:lnTo>
                  <a:pt x="3049003" y="1339227"/>
                </a:lnTo>
                <a:lnTo>
                  <a:pt x="3014027" y="1307045"/>
                </a:lnTo>
                <a:lnTo>
                  <a:pt x="2972092" y="1281747"/>
                </a:lnTo>
                <a:lnTo>
                  <a:pt x="2925953" y="1265313"/>
                </a:lnTo>
                <a:lnTo>
                  <a:pt x="2878899" y="1258608"/>
                </a:lnTo>
                <a:lnTo>
                  <a:pt x="2832239" y="1261160"/>
                </a:lnTo>
                <a:lnTo>
                  <a:pt x="2787256" y="1272514"/>
                </a:lnTo>
                <a:lnTo>
                  <a:pt x="2745244" y="1292212"/>
                </a:lnTo>
                <a:lnTo>
                  <a:pt x="2707513" y="1319784"/>
                </a:lnTo>
                <a:lnTo>
                  <a:pt x="2675344" y="1354772"/>
                </a:lnTo>
                <a:lnTo>
                  <a:pt x="2650032" y="1396720"/>
                </a:lnTo>
                <a:lnTo>
                  <a:pt x="2057387" y="2647327"/>
                </a:lnTo>
                <a:lnTo>
                  <a:pt x="2042109" y="2689110"/>
                </a:lnTo>
                <a:lnTo>
                  <a:pt x="2033231" y="2754642"/>
                </a:lnTo>
                <a:lnTo>
                  <a:pt x="2036775" y="2805214"/>
                </a:lnTo>
                <a:lnTo>
                  <a:pt x="2049132" y="2854223"/>
                </a:lnTo>
                <a:lnTo>
                  <a:pt x="2070011" y="2900603"/>
                </a:lnTo>
                <a:lnTo>
                  <a:pt x="2099157" y="2943275"/>
                </a:lnTo>
                <a:lnTo>
                  <a:pt x="2135086" y="2979991"/>
                </a:lnTo>
                <a:lnTo>
                  <a:pt x="2176195" y="3009366"/>
                </a:lnTo>
                <a:lnTo>
                  <a:pt x="2221509" y="3030944"/>
                </a:lnTo>
                <a:lnTo>
                  <a:pt x="2270036" y="3044228"/>
                </a:lnTo>
                <a:lnTo>
                  <a:pt x="2320772" y="3048774"/>
                </a:lnTo>
                <a:lnTo>
                  <a:pt x="3067545" y="3048774"/>
                </a:lnTo>
                <a:lnTo>
                  <a:pt x="2583205" y="4107624"/>
                </a:lnTo>
                <a:lnTo>
                  <a:pt x="2567394" y="4153979"/>
                </a:lnTo>
                <a:lnTo>
                  <a:pt x="2561323" y="4201122"/>
                </a:lnTo>
                <a:lnTo>
                  <a:pt x="2564523" y="4247743"/>
                </a:lnTo>
                <a:lnTo>
                  <a:pt x="2576487" y="4292574"/>
                </a:lnTo>
                <a:lnTo>
                  <a:pt x="2596743" y="4334307"/>
                </a:lnTo>
                <a:lnTo>
                  <a:pt x="2624823" y="4371670"/>
                </a:lnTo>
                <a:lnTo>
                  <a:pt x="2660243" y="4403369"/>
                </a:lnTo>
                <a:lnTo>
                  <a:pt x="2702522" y="4428109"/>
                </a:lnTo>
                <a:lnTo>
                  <a:pt x="2752331" y="4444670"/>
                </a:lnTo>
                <a:lnTo>
                  <a:pt x="2802953" y="4450080"/>
                </a:lnTo>
                <a:lnTo>
                  <a:pt x="2848267" y="4445774"/>
                </a:lnTo>
                <a:lnTo>
                  <a:pt x="2891726" y="4433189"/>
                </a:lnTo>
                <a:lnTo>
                  <a:pt x="2932112" y="4412754"/>
                </a:lnTo>
                <a:lnTo>
                  <a:pt x="2968256" y="4384903"/>
                </a:lnTo>
                <a:lnTo>
                  <a:pt x="2998952" y="4350105"/>
                </a:lnTo>
                <a:lnTo>
                  <a:pt x="3022993" y="4308792"/>
                </a:lnTo>
                <a:lnTo>
                  <a:pt x="3663950" y="2907550"/>
                </a:lnTo>
                <a:lnTo>
                  <a:pt x="3679660" y="2861399"/>
                </a:lnTo>
                <a:lnTo>
                  <a:pt x="3685768" y="2813748"/>
                </a:lnTo>
                <a:close/>
              </a:path>
              <a:path w="5719444" h="4660900">
                <a:moveTo>
                  <a:pt x="4114685" y="444500"/>
                </a:moveTo>
                <a:lnTo>
                  <a:pt x="4110075" y="393700"/>
                </a:lnTo>
                <a:lnTo>
                  <a:pt x="4096740" y="355600"/>
                </a:lnTo>
                <a:lnTo>
                  <a:pt x="4075214" y="317500"/>
                </a:lnTo>
                <a:lnTo>
                  <a:pt x="4046004" y="279400"/>
                </a:lnTo>
                <a:lnTo>
                  <a:pt x="4009644" y="241300"/>
                </a:lnTo>
                <a:lnTo>
                  <a:pt x="3966641" y="228600"/>
                </a:lnTo>
                <a:lnTo>
                  <a:pt x="3920782" y="203200"/>
                </a:lnTo>
                <a:lnTo>
                  <a:pt x="3874681" y="190500"/>
                </a:lnTo>
                <a:lnTo>
                  <a:pt x="3828351" y="165100"/>
                </a:lnTo>
                <a:lnTo>
                  <a:pt x="3353041" y="38100"/>
                </a:lnTo>
                <a:lnTo>
                  <a:pt x="3304425" y="38100"/>
                </a:lnTo>
                <a:lnTo>
                  <a:pt x="3255645" y="25400"/>
                </a:lnTo>
                <a:lnTo>
                  <a:pt x="3206686" y="25400"/>
                </a:lnTo>
                <a:lnTo>
                  <a:pt x="3157563" y="12700"/>
                </a:lnTo>
                <a:lnTo>
                  <a:pt x="3058820" y="12700"/>
                </a:lnTo>
                <a:lnTo>
                  <a:pt x="3009227" y="0"/>
                </a:lnTo>
                <a:lnTo>
                  <a:pt x="2707589" y="0"/>
                </a:lnTo>
                <a:lnTo>
                  <a:pt x="2657221" y="12700"/>
                </a:lnTo>
                <a:lnTo>
                  <a:pt x="2557030" y="12700"/>
                </a:lnTo>
                <a:lnTo>
                  <a:pt x="2507196" y="25400"/>
                </a:lnTo>
                <a:lnTo>
                  <a:pt x="2457564" y="25400"/>
                </a:lnTo>
                <a:lnTo>
                  <a:pt x="2358923" y="50800"/>
                </a:lnTo>
                <a:lnTo>
                  <a:pt x="2309939" y="50800"/>
                </a:lnTo>
                <a:lnTo>
                  <a:pt x="1927009" y="152400"/>
                </a:lnTo>
                <a:lnTo>
                  <a:pt x="1880400" y="177800"/>
                </a:lnTo>
                <a:lnTo>
                  <a:pt x="1788121" y="203200"/>
                </a:lnTo>
                <a:lnTo>
                  <a:pt x="1742465" y="228600"/>
                </a:lnTo>
                <a:lnTo>
                  <a:pt x="1697139" y="241300"/>
                </a:lnTo>
                <a:lnTo>
                  <a:pt x="1607540" y="292100"/>
                </a:lnTo>
                <a:lnTo>
                  <a:pt x="1563268" y="304800"/>
                </a:lnTo>
                <a:lnTo>
                  <a:pt x="1519377" y="330200"/>
                </a:lnTo>
                <a:lnTo>
                  <a:pt x="1389989" y="406400"/>
                </a:lnTo>
                <a:lnTo>
                  <a:pt x="1264246" y="482600"/>
                </a:lnTo>
                <a:lnTo>
                  <a:pt x="1223175" y="520700"/>
                </a:lnTo>
                <a:lnTo>
                  <a:pt x="1142365" y="571500"/>
                </a:lnTo>
                <a:lnTo>
                  <a:pt x="1102639" y="609600"/>
                </a:lnTo>
                <a:lnTo>
                  <a:pt x="1063383" y="635000"/>
                </a:lnTo>
                <a:lnTo>
                  <a:pt x="1024597" y="673100"/>
                </a:lnTo>
                <a:lnTo>
                  <a:pt x="986294" y="698500"/>
                </a:lnTo>
                <a:lnTo>
                  <a:pt x="948486" y="736600"/>
                </a:lnTo>
                <a:lnTo>
                  <a:pt x="911174" y="774700"/>
                </a:lnTo>
                <a:lnTo>
                  <a:pt x="874382" y="800100"/>
                </a:lnTo>
                <a:lnTo>
                  <a:pt x="838098" y="838200"/>
                </a:lnTo>
                <a:lnTo>
                  <a:pt x="802424" y="876300"/>
                </a:lnTo>
                <a:lnTo>
                  <a:pt x="767473" y="914400"/>
                </a:lnTo>
                <a:lnTo>
                  <a:pt x="733259" y="952500"/>
                </a:lnTo>
                <a:lnTo>
                  <a:pt x="699770" y="990600"/>
                </a:lnTo>
                <a:lnTo>
                  <a:pt x="667004" y="1028700"/>
                </a:lnTo>
                <a:lnTo>
                  <a:pt x="634987" y="1066800"/>
                </a:lnTo>
                <a:lnTo>
                  <a:pt x="603707" y="1104900"/>
                </a:lnTo>
                <a:lnTo>
                  <a:pt x="573176" y="1143000"/>
                </a:lnTo>
                <a:lnTo>
                  <a:pt x="543394" y="1181100"/>
                </a:lnTo>
                <a:lnTo>
                  <a:pt x="514362" y="1219200"/>
                </a:lnTo>
                <a:lnTo>
                  <a:pt x="486079" y="1270000"/>
                </a:lnTo>
                <a:lnTo>
                  <a:pt x="458571" y="1308100"/>
                </a:lnTo>
                <a:lnTo>
                  <a:pt x="431812" y="1346200"/>
                </a:lnTo>
                <a:lnTo>
                  <a:pt x="405828" y="1397000"/>
                </a:lnTo>
                <a:lnTo>
                  <a:pt x="380606" y="1435100"/>
                </a:lnTo>
                <a:lnTo>
                  <a:pt x="356158" y="1473200"/>
                </a:lnTo>
                <a:lnTo>
                  <a:pt x="332486" y="1524000"/>
                </a:lnTo>
                <a:lnTo>
                  <a:pt x="309600" y="1562100"/>
                </a:lnTo>
                <a:lnTo>
                  <a:pt x="287502" y="1612900"/>
                </a:lnTo>
                <a:lnTo>
                  <a:pt x="266192" y="1651000"/>
                </a:lnTo>
                <a:lnTo>
                  <a:pt x="245668" y="1701800"/>
                </a:lnTo>
                <a:lnTo>
                  <a:pt x="225933" y="1739900"/>
                </a:lnTo>
                <a:lnTo>
                  <a:pt x="207010" y="1790700"/>
                </a:lnTo>
                <a:lnTo>
                  <a:pt x="188887" y="1841500"/>
                </a:lnTo>
                <a:lnTo>
                  <a:pt x="171564" y="1879600"/>
                </a:lnTo>
                <a:lnTo>
                  <a:pt x="155054" y="1930400"/>
                </a:lnTo>
                <a:lnTo>
                  <a:pt x="139357" y="1981200"/>
                </a:lnTo>
                <a:lnTo>
                  <a:pt x="124472" y="2019300"/>
                </a:lnTo>
                <a:lnTo>
                  <a:pt x="110413" y="2070100"/>
                </a:lnTo>
                <a:lnTo>
                  <a:pt x="97180" y="2120900"/>
                </a:lnTo>
                <a:lnTo>
                  <a:pt x="84772" y="2171700"/>
                </a:lnTo>
                <a:lnTo>
                  <a:pt x="73190" y="2209800"/>
                </a:lnTo>
                <a:lnTo>
                  <a:pt x="62458" y="2260600"/>
                </a:lnTo>
                <a:lnTo>
                  <a:pt x="52552" y="2311400"/>
                </a:lnTo>
                <a:lnTo>
                  <a:pt x="43484" y="2362200"/>
                </a:lnTo>
                <a:lnTo>
                  <a:pt x="35267" y="2413000"/>
                </a:lnTo>
                <a:lnTo>
                  <a:pt x="27914" y="2463800"/>
                </a:lnTo>
                <a:lnTo>
                  <a:pt x="21399" y="2501900"/>
                </a:lnTo>
                <a:lnTo>
                  <a:pt x="15735" y="2552700"/>
                </a:lnTo>
                <a:lnTo>
                  <a:pt x="10947" y="2603500"/>
                </a:lnTo>
                <a:lnTo>
                  <a:pt x="7010" y="2654300"/>
                </a:lnTo>
                <a:lnTo>
                  <a:pt x="3949" y="2705100"/>
                </a:lnTo>
                <a:lnTo>
                  <a:pt x="1752" y="2755900"/>
                </a:lnTo>
                <a:lnTo>
                  <a:pt x="431" y="2806700"/>
                </a:lnTo>
                <a:lnTo>
                  <a:pt x="0" y="2857500"/>
                </a:lnTo>
                <a:lnTo>
                  <a:pt x="444" y="2908300"/>
                </a:lnTo>
                <a:lnTo>
                  <a:pt x="1778" y="2959100"/>
                </a:lnTo>
                <a:lnTo>
                  <a:pt x="3987" y="3009900"/>
                </a:lnTo>
                <a:lnTo>
                  <a:pt x="7086" y="3060700"/>
                </a:lnTo>
                <a:lnTo>
                  <a:pt x="11061" y="3111500"/>
                </a:lnTo>
                <a:lnTo>
                  <a:pt x="15900" y="3162300"/>
                </a:lnTo>
                <a:lnTo>
                  <a:pt x="21615" y="3213100"/>
                </a:lnTo>
                <a:lnTo>
                  <a:pt x="28194" y="3263900"/>
                </a:lnTo>
                <a:lnTo>
                  <a:pt x="35648" y="3314700"/>
                </a:lnTo>
                <a:lnTo>
                  <a:pt x="43954" y="3365500"/>
                </a:lnTo>
                <a:lnTo>
                  <a:pt x="53111" y="3403600"/>
                </a:lnTo>
                <a:lnTo>
                  <a:pt x="63119" y="3454400"/>
                </a:lnTo>
                <a:lnTo>
                  <a:pt x="73990" y="3505200"/>
                </a:lnTo>
                <a:lnTo>
                  <a:pt x="85699" y="3556000"/>
                </a:lnTo>
                <a:lnTo>
                  <a:pt x="98247" y="3606800"/>
                </a:lnTo>
                <a:lnTo>
                  <a:pt x="111633" y="3657600"/>
                </a:lnTo>
                <a:lnTo>
                  <a:pt x="125857" y="3695700"/>
                </a:lnTo>
                <a:lnTo>
                  <a:pt x="140919" y="3746500"/>
                </a:lnTo>
                <a:lnTo>
                  <a:pt x="156806" y="3797300"/>
                </a:lnTo>
                <a:lnTo>
                  <a:pt x="173520" y="3848100"/>
                </a:lnTo>
                <a:lnTo>
                  <a:pt x="191046" y="3886200"/>
                </a:lnTo>
                <a:lnTo>
                  <a:pt x="209397" y="3937000"/>
                </a:lnTo>
                <a:lnTo>
                  <a:pt x="228574" y="3987800"/>
                </a:lnTo>
                <a:lnTo>
                  <a:pt x="248551" y="4025900"/>
                </a:lnTo>
                <a:lnTo>
                  <a:pt x="269328" y="4076700"/>
                </a:lnTo>
                <a:lnTo>
                  <a:pt x="290931" y="4114800"/>
                </a:lnTo>
                <a:lnTo>
                  <a:pt x="313321" y="4165600"/>
                </a:lnTo>
                <a:lnTo>
                  <a:pt x="336511" y="4203700"/>
                </a:lnTo>
                <a:lnTo>
                  <a:pt x="367157" y="4254500"/>
                </a:lnTo>
                <a:lnTo>
                  <a:pt x="405587" y="4292600"/>
                </a:lnTo>
                <a:lnTo>
                  <a:pt x="450037" y="4318000"/>
                </a:lnTo>
                <a:lnTo>
                  <a:pt x="498703" y="4330700"/>
                </a:lnTo>
                <a:lnTo>
                  <a:pt x="607682" y="4330700"/>
                </a:lnTo>
                <a:lnTo>
                  <a:pt x="663892" y="4305300"/>
                </a:lnTo>
                <a:lnTo>
                  <a:pt x="704507" y="4279900"/>
                </a:lnTo>
                <a:lnTo>
                  <a:pt x="737857" y="4241800"/>
                </a:lnTo>
                <a:lnTo>
                  <a:pt x="763511" y="4203700"/>
                </a:lnTo>
                <a:lnTo>
                  <a:pt x="781100" y="4165600"/>
                </a:lnTo>
                <a:lnTo>
                  <a:pt x="790206" y="4114800"/>
                </a:lnTo>
                <a:lnTo>
                  <a:pt x="790435" y="4076700"/>
                </a:lnTo>
                <a:lnTo>
                  <a:pt x="781392" y="4025900"/>
                </a:lnTo>
                <a:lnTo>
                  <a:pt x="762698" y="3975100"/>
                </a:lnTo>
                <a:lnTo>
                  <a:pt x="739368" y="3937000"/>
                </a:lnTo>
                <a:lnTo>
                  <a:pt x="717016" y="3886200"/>
                </a:lnTo>
                <a:lnTo>
                  <a:pt x="695667" y="3848100"/>
                </a:lnTo>
                <a:lnTo>
                  <a:pt x="675297" y="3797300"/>
                </a:lnTo>
                <a:lnTo>
                  <a:pt x="655929" y="3746500"/>
                </a:lnTo>
                <a:lnTo>
                  <a:pt x="637565" y="3708400"/>
                </a:lnTo>
                <a:lnTo>
                  <a:pt x="620204" y="3657600"/>
                </a:lnTo>
                <a:lnTo>
                  <a:pt x="603859" y="3606800"/>
                </a:lnTo>
                <a:lnTo>
                  <a:pt x="588518" y="3556000"/>
                </a:lnTo>
                <a:lnTo>
                  <a:pt x="574217" y="3517900"/>
                </a:lnTo>
                <a:lnTo>
                  <a:pt x="560933" y="3467100"/>
                </a:lnTo>
                <a:lnTo>
                  <a:pt x="548690" y="3416300"/>
                </a:lnTo>
                <a:lnTo>
                  <a:pt x="537476" y="3365500"/>
                </a:lnTo>
                <a:lnTo>
                  <a:pt x="527316" y="3314700"/>
                </a:lnTo>
                <a:lnTo>
                  <a:pt x="518198" y="3263900"/>
                </a:lnTo>
                <a:lnTo>
                  <a:pt x="510133" y="3213100"/>
                </a:lnTo>
                <a:lnTo>
                  <a:pt x="503123" y="3162300"/>
                </a:lnTo>
                <a:lnTo>
                  <a:pt x="497192" y="3111500"/>
                </a:lnTo>
                <a:lnTo>
                  <a:pt x="492315" y="3060700"/>
                </a:lnTo>
                <a:lnTo>
                  <a:pt x="488518" y="3009900"/>
                </a:lnTo>
                <a:lnTo>
                  <a:pt x="485800" y="2959100"/>
                </a:lnTo>
                <a:lnTo>
                  <a:pt x="484162" y="2908300"/>
                </a:lnTo>
                <a:lnTo>
                  <a:pt x="483616" y="2857500"/>
                </a:lnTo>
                <a:lnTo>
                  <a:pt x="484124" y="2806700"/>
                </a:lnTo>
                <a:lnTo>
                  <a:pt x="485660" y="2755900"/>
                </a:lnTo>
                <a:lnTo>
                  <a:pt x="488213" y="2705100"/>
                </a:lnTo>
                <a:lnTo>
                  <a:pt x="491782" y="2667000"/>
                </a:lnTo>
                <a:lnTo>
                  <a:pt x="496354" y="2616200"/>
                </a:lnTo>
                <a:lnTo>
                  <a:pt x="501929" y="2565400"/>
                </a:lnTo>
                <a:lnTo>
                  <a:pt x="508508" y="2514600"/>
                </a:lnTo>
                <a:lnTo>
                  <a:pt x="516077" y="2463800"/>
                </a:lnTo>
                <a:lnTo>
                  <a:pt x="524624" y="2413000"/>
                </a:lnTo>
                <a:lnTo>
                  <a:pt x="534162" y="2374900"/>
                </a:lnTo>
                <a:lnTo>
                  <a:pt x="544677" y="2324100"/>
                </a:lnTo>
                <a:lnTo>
                  <a:pt x="556171" y="2273300"/>
                </a:lnTo>
                <a:lnTo>
                  <a:pt x="568629" y="2222500"/>
                </a:lnTo>
                <a:lnTo>
                  <a:pt x="582041" y="2184400"/>
                </a:lnTo>
                <a:lnTo>
                  <a:pt x="596417" y="2133600"/>
                </a:lnTo>
                <a:lnTo>
                  <a:pt x="611759" y="2082800"/>
                </a:lnTo>
                <a:lnTo>
                  <a:pt x="628027" y="2044700"/>
                </a:lnTo>
                <a:lnTo>
                  <a:pt x="645248" y="1993900"/>
                </a:lnTo>
                <a:lnTo>
                  <a:pt x="663409" y="1955800"/>
                </a:lnTo>
                <a:lnTo>
                  <a:pt x="682510" y="1905000"/>
                </a:lnTo>
                <a:lnTo>
                  <a:pt x="702525" y="1866900"/>
                </a:lnTo>
                <a:lnTo>
                  <a:pt x="723468" y="1816100"/>
                </a:lnTo>
                <a:lnTo>
                  <a:pt x="745337" y="1778000"/>
                </a:lnTo>
                <a:lnTo>
                  <a:pt x="768108" y="1727200"/>
                </a:lnTo>
                <a:lnTo>
                  <a:pt x="791794" y="1689100"/>
                </a:lnTo>
                <a:lnTo>
                  <a:pt x="816381" y="1651000"/>
                </a:lnTo>
                <a:lnTo>
                  <a:pt x="841870" y="1600200"/>
                </a:lnTo>
                <a:lnTo>
                  <a:pt x="868248" y="1562100"/>
                </a:lnTo>
                <a:lnTo>
                  <a:pt x="895515" y="1524000"/>
                </a:lnTo>
                <a:lnTo>
                  <a:pt x="923658" y="1485900"/>
                </a:lnTo>
                <a:lnTo>
                  <a:pt x="952690" y="1447800"/>
                </a:lnTo>
                <a:lnTo>
                  <a:pt x="982586" y="1409700"/>
                </a:lnTo>
                <a:lnTo>
                  <a:pt x="1013358" y="1371600"/>
                </a:lnTo>
                <a:lnTo>
                  <a:pt x="1044994" y="1333500"/>
                </a:lnTo>
                <a:lnTo>
                  <a:pt x="1077493" y="1295400"/>
                </a:lnTo>
                <a:lnTo>
                  <a:pt x="1110830" y="1257300"/>
                </a:lnTo>
                <a:lnTo>
                  <a:pt x="1145032" y="1219200"/>
                </a:lnTo>
                <a:lnTo>
                  <a:pt x="1180071" y="1181100"/>
                </a:lnTo>
                <a:lnTo>
                  <a:pt x="1215821" y="1143000"/>
                </a:lnTo>
                <a:lnTo>
                  <a:pt x="1252169" y="1117600"/>
                </a:lnTo>
                <a:lnTo>
                  <a:pt x="1289113" y="1079500"/>
                </a:lnTo>
                <a:lnTo>
                  <a:pt x="1326629" y="1041400"/>
                </a:lnTo>
                <a:lnTo>
                  <a:pt x="1364716" y="1016000"/>
                </a:lnTo>
                <a:lnTo>
                  <a:pt x="1403350" y="977900"/>
                </a:lnTo>
                <a:lnTo>
                  <a:pt x="1482229" y="927100"/>
                </a:lnTo>
                <a:lnTo>
                  <a:pt x="1522450" y="901700"/>
                </a:lnTo>
                <a:lnTo>
                  <a:pt x="1563179" y="863600"/>
                </a:lnTo>
                <a:lnTo>
                  <a:pt x="1646097" y="812800"/>
                </a:lnTo>
                <a:lnTo>
                  <a:pt x="1688261" y="787400"/>
                </a:lnTo>
                <a:lnTo>
                  <a:pt x="1730895" y="774700"/>
                </a:lnTo>
                <a:lnTo>
                  <a:pt x="1861388" y="698500"/>
                </a:lnTo>
                <a:lnTo>
                  <a:pt x="1905711" y="685800"/>
                </a:lnTo>
                <a:lnTo>
                  <a:pt x="1950440" y="660400"/>
                </a:lnTo>
                <a:lnTo>
                  <a:pt x="2041029" y="635000"/>
                </a:lnTo>
                <a:lnTo>
                  <a:pt x="2086876" y="609600"/>
                </a:lnTo>
                <a:lnTo>
                  <a:pt x="2416873" y="520700"/>
                </a:lnTo>
                <a:lnTo>
                  <a:pt x="2465159" y="520700"/>
                </a:lnTo>
                <a:lnTo>
                  <a:pt x="2513711" y="508000"/>
                </a:lnTo>
                <a:lnTo>
                  <a:pt x="2562491" y="508000"/>
                </a:lnTo>
                <a:lnTo>
                  <a:pt x="2611513" y="495300"/>
                </a:lnTo>
                <a:lnTo>
                  <a:pt x="2710180" y="495300"/>
                </a:lnTo>
                <a:lnTo>
                  <a:pt x="2759811" y="482600"/>
                </a:lnTo>
                <a:lnTo>
                  <a:pt x="2960052" y="482600"/>
                </a:lnTo>
                <a:lnTo>
                  <a:pt x="3010014" y="495300"/>
                </a:lnTo>
                <a:lnTo>
                  <a:pt x="3109366" y="495300"/>
                </a:lnTo>
                <a:lnTo>
                  <a:pt x="3158756" y="508000"/>
                </a:lnTo>
                <a:lnTo>
                  <a:pt x="3207931" y="508000"/>
                </a:lnTo>
                <a:lnTo>
                  <a:pt x="3256889" y="520700"/>
                </a:lnTo>
                <a:lnTo>
                  <a:pt x="3305619" y="520700"/>
                </a:lnTo>
                <a:lnTo>
                  <a:pt x="3639845" y="609600"/>
                </a:lnTo>
                <a:lnTo>
                  <a:pt x="3686518" y="635000"/>
                </a:lnTo>
                <a:lnTo>
                  <a:pt x="3732898" y="647700"/>
                </a:lnTo>
                <a:lnTo>
                  <a:pt x="3778986" y="673100"/>
                </a:lnTo>
                <a:lnTo>
                  <a:pt x="3825811" y="685800"/>
                </a:lnTo>
                <a:lnTo>
                  <a:pt x="3919613" y="685800"/>
                </a:lnTo>
                <a:lnTo>
                  <a:pt x="3964063" y="673100"/>
                </a:lnTo>
                <a:lnTo>
                  <a:pt x="4005161" y="647700"/>
                </a:lnTo>
                <a:lnTo>
                  <a:pt x="4041648" y="622300"/>
                </a:lnTo>
                <a:lnTo>
                  <a:pt x="4072242" y="584200"/>
                </a:lnTo>
                <a:lnTo>
                  <a:pt x="4095686" y="546100"/>
                </a:lnTo>
                <a:lnTo>
                  <a:pt x="4110063" y="495300"/>
                </a:lnTo>
                <a:lnTo>
                  <a:pt x="4111218" y="482600"/>
                </a:lnTo>
                <a:lnTo>
                  <a:pt x="4114685" y="444500"/>
                </a:lnTo>
                <a:close/>
              </a:path>
              <a:path w="5719444" h="4660900">
                <a:moveTo>
                  <a:pt x="5605069" y="814870"/>
                </a:moveTo>
                <a:lnTo>
                  <a:pt x="5600154" y="766140"/>
                </a:lnTo>
                <a:lnTo>
                  <a:pt x="5586069" y="720750"/>
                </a:lnTo>
                <a:lnTo>
                  <a:pt x="5563768" y="679665"/>
                </a:lnTo>
                <a:lnTo>
                  <a:pt x="5534253" y="643877"/>
                </a:lnTo>
                <a:lnTo>
                  <a:pt x="5498465" y="614349"/>
                </a:lnTo>
                <a:lnTo>
                  <a:pt x="5457393" y="592048"/>
                </a:lnTo>
                <a:lnTo>
                  <a:pt x="5412003" y="577964"/>
                </a:lnTo>
                <a:lnTo>
                  <a:pt x="5363273" y="573036"/>
                </a:lnTo>
                <a:lnTo>
                  <a:pt x="4633633" y="572973"/>
                </a:lnTo>
                <a:lnTo>
                  <a:pt x="4587392" y="575856"/>
                </a:lnTo>
                <a:lnTo>
                  <a:pt x="4542853" y="584276"/>
                </a:lnTo>
                <a:lnTo>
                  <a:pt x="4500359" y="597865"/>
                </a:lnTo>
                <a:lnTo>
                  <a:pt x="4460252" y="616292"/>
                </a:lnTo>
                <a:lnTo>
                  <a:pt x="4422889" y="639203"/>
                </a:lnTo>
                <a:lnTo>
                  <a:pt x="4388612" y="666254"/>
                </a:lnTo>
                <a:lnTo>
                  <a:pt x="4357776" y="697090"/>
                </a:lnTo>
                <a:lnTo>
                  <a:pt x="4330725" y="731367"/>
                </a:lnTo>
                <a:lnTo>
                  <a:pt x="4307814" y="768731"/>
                </a:lnTo>
                <a:lnTo>
                  <a:pt x="4289387" y="808837"/>
                </a:lnTo>
                <a:lnTo>
                  <a:pt x="4275798" y="851331"/>
                </a:lnTo>
                <a:lnTo>
                  <a:pt x="4267390" y="895883"/>
                </a:lnTo>
                <a:lnTo>
                  <a:pt x="4264507" y="942111"/>
                </a:lnTo>
                <a:lnTo>
                  <a:pt x="4264507" y="1634591"/>
                </a:lnTo>
                <a:lnTo>
                  <a:pt x="4269422" y="1683334"/>
                </a:lnTo>
                <a:lnTo>
                  <a:pt x="4283507" y="1728724"/>
                </a:lnTo>
                <a:lnTo>
                  <a:pt x="4305795" y="1769795"/>
                </a:lnTo>
                <a:lnTo>
                  <a:pt x="4335323" y="1805584"/>
                </a:lnTo>
                <a:lnTo>
                  <a:pt x="4371111" y="1835111"/>
                </a:lnTo>
                <a:lnTo>
                  <a:pt x="4412183" y="1857400"/>
                </a:lnTo>
                <a:lnTo>
                  <a:pt x="4457573" y="1871497"/>
                </a:lnTo>
                <a:lnTo>
                  <a:pt x="4506315" y="1876399"/>
                </a:lnTo>
                <a:lnTo>
                  <a:pt x="4555045" y="1871497"/>
                </a:lnTo>
                <a:lnTo>
                  <a:pt x="4600435" y="1857400"/>
                </a:lnTo>
                <a:lnTo>
                  <a:pt x="4641507" y="1835111"/>
                </a:lnTo>
                <a:lnTo>
                  <a:pt x="4677295" y="1805584"/>
                </a:lnTo>
                <a:lnTo>
                  <a:pt x="4706823" y="1769795"/>
                </a:lnTo>
                <a:lnTo>
                  <a:pt x="4729124" y="1728724"/>
                </a:lnTo>
                <a:lnTo>
                  <a:pt x="4743208" y="1683334"/>
                </a:lnTo>
                <a:lnTo>
                  <a:pt x="4748123" y="1634591"/>
                </a:lnTo>
                <a:lnTo>
                  <a:pt x="4748123" y="1056601"/>
                </a:lnTo>
                <a:lnTo>
                  <a:pt x="5363248" y="1056652"/>
                </a:lnTo>
                <a:lnTo>
                  <a:pt x="5363743" y="1056601"/>
                </a:lnTo>
                <a:lnTo>
                  <a:pt x="5411978" y="1051750"/>
                </a:lnTo>
                <a:lnTo>
                  <a:pt x="5457368" y="1037653"/>
                </a:lnTo>
                <a:lnTo>
                  <a:pt x="5498439" y="1015365"/>
                </a:lnTo>
                <a:lnTo>
                  <a:pt x="5534228" y="985837"/>
                </a:lnTo>
                <a:lnTo>
                  <a:pt x="5563755" y="950061"/>
                </a:lnTo>
                <a:lnTo>
                  <a:pt x="5586057" y="908989"/>
                </a:lnTo>
                <a:lnTo>
                  <a:pt x="5600154" y="863600"/>
                </a:lnTo>
                <a:lnTo>
                  <a:pt x="5605069" y="814870"/>
                </a:lnTo>
                <a:close/>
              </a:path>
              <a:path w="5719444" h="4660900">
                <a:moveTo>
                  <a:pt x="5719089" y="2854223"/>
                </a:moveTo>
                <a:lnTo>
                  <a:pt x="5718632" y="2802458"/>
                </a:lnTo>
                <a:lnTo>
                  <a:pt x="5717286" y="2750845"/>
                </a:lnTo>
                <a:lnTo>
                  <a:pt x="5715038" y="2699423"/>
                </a:lnTo>
                <a:lnTo>
                  <a:pt x="5711888" y="2648178"/>
                </a:lnTo>
                <a:lnTo>
                  <a:pt x="5707850" y="2597112"/>
                </a:lnTo>
                <a:lnTo>
                  <a:pt x="5702909" y="2546235"/>
                </a:lnTo>
                <a:lnTo>
                  <a:pt x="5697080" y="2495562"/>
                </a:lnTo>
                <a:lnTo>
                  <a:pt x="5690349" y="2445093"/>
                </a:lnTo>
                <a:lnTo>
                  <a:pt x="5682729" y="2394813"/>
                </a:lnTo>
                <a:lnTo>
                  <a:pt x="5674220" y="2344750"/>
                </a:lnTo>
                <a:lnTo>
                  <a:pt x="5664809" y="2294890"/>
                </a:lnTo>
                <a:lnTo>
                  <a:pt x="5654522" y="2245258"/>
                </a:lnTo>
                <a:lnTo>
                  <a:pt x="5643346" y="2195842"/>
                </a:lnTo>
                <a:lnTo>
                  <a:pt x="5631269" y="2146655"/>
                </a:lnTo>
                <a:lnTo>
                  <a:pt x="5618315" y="2097684"/>
                </a:lnTo>
                <a:lnTo>
                  <a:pt x="5604484" y="2048967"/>
                </a:lnTo>
                <a:lnTo>
                  <a:pt x="5589752" y="2000478"/>
                </a:lnTo>
                <a:lnTo>
                  <a:pt x="5574144" y="1952231"/>
                </a:lnTo>
                <a:lnTo>
                  <a:pt x="5557659" y="1904238"/>
                </a:lnTo>
                <a:lnTo>
                  <a:pt x="5540286" y="1856498"/>
                </a:lnTo>
                <a:lnTo>
                  <a:pt x="5522023" y="1809013"/>
                </a:lnTo>
                <a:lnTo>
                  <a:pt x="5502897" y="1761782"/>
                </a:lnTo>
                <a:lnTo>
                  <a:pt x="5482882" y="1714830"/>
                </a:lnTo>
                <a:lnTo>
                  <a:pt x="5461990" y="1668132"/>
                </a:lnTo>
                <a:lnTo>
                  <a:pt x="5440235" y="1621713"/>
                </a:lnTo>
                <a:lnTo>
                  <a:pt x="5414721" y="1579905"/>
                </a:lnTo>
                <a:lnTo>
                  <a:pt x="5382387" y="1545069"/>
                </a:lnTo>
                <a:lnTo>
                  <a:pt x="5344515" y="1517688"/>
                </a:lnTo>
                <a:lnTo>
                  <a:pt x="5302415" y="1498193"/>
                </a:lnTo>
                <a:lnTo>
                  <a:pt x="5257381" y="1487055"/>
                </a:lnTo>
                <a:lnTo>
                  <a:pt x="5210695" y="1484731"/>
                </a:lnTo>
                <a:lnTo>
                  <a:pt x="5163680" y="1491665"/>
                </a:lnTo>
                <a:lnTo>
                  <a:pt x="5117630" y="1508302"/>
                </a:lnTo>
                <a:lnTo>
                  <a:pt x="5075809" y="1533817"/>
                </a:lnTo>
                <a:lnTo>
                  <a:pt x="5040985" y="1566164"/>
                </a:lnTo>
                <a:lnTo>
                  <a:pt x="5013591" y="1604022"/>
                </a:lnTo>
                <a:lnTo>
                  <a:pt x="4994097" y="1646123"/>
                </a:lnTo>
                <a:lnTo>
                  <a:pt x="4982959" y="1691170"/>
                </a:lnTo>
                <a:lnTo>
                  <a:pt x="4980635" y="1737842"/>
                </a:lnTo>
                <a:lnTo>
                  <a:pt x="4987556" y="1784858"/>
                </a:lnTo>
                <a:lnTo>
                  <a:pt x="5004219" y="1830920"/>
                </a:lnTo>
                <a:lnTo>
                  <a:pt x="5025618" y="1876780"/>
                </a:lnTo>
                <a:lnTo>
                  <a:pt x="5046002" y="1922957"/>
                </a:lnTo>
                <a:lnTo>
                  <a:pt x="5065344" y="1969465"/>
                </a:lnTo>
                <a:lnTo>
                  <a:pt x="5083657" y="2016277"/>
                </a:lnTo>
                <a:lnTo>
                  <a:pt x="5100929" y="2063407"/>
                </a:lnTo>
                <a:lnTo>
                  <a:pt x="5117173" y="2110829"/>
                </a:lnTo>
                <a:lnTo>
                  <a:pt x="5132375" y="2158555"/>
                </a:lnTo>
                <a:lnTo>
                  <a:pt x="5146535" y="2206561"/>
                </a:lnTo>
                <a:lnTo>
                  <a:pt x="5159654" y="2254859"/>
                </a:lnTo>
                <a:lnTo>
                  <a:pt x="5171732" y="2303437"/>
                </a:lnTo>
                <a:lnTo>
                  <a:pt x="5182781" y="2352268"/>
                </a:lnTo>
                <a:lnTo>
                  <a:pt x="5192763" y="2401379"/>
                </a:lnTo>
                <a:lnTo>
                  <a:pt x="5201717" y="2450744"/>
                </a:lnTo>
                <a:lnTo>
                  <a:pt x="5209616" y="2500363"/>
                </a:lnTo>
                <a:lnTo>
                  <a:pt x="5216461" y="2550223"/>
                </a:lnTo>
                <a:lnTo>
                  <a:pt x="5222265" y="2600337"/>
                </a:lnTo>
                <a:lnTo>
                  <a:pt x="5227015" y="2650667"/>
                </a:lnTo>
                <a:lnTo>
                  <a:pt x="5230711" y="2701239"/>
                </a:lnTo>
                <a:lnTo>
                  <a:pt x="5233352" y="2752013"/>
                </a:lnTo>
                <a:lnTo>
                  <a:pt x="5234940" y="2803017"/>
                </a:lnTo>
                <a:lnTo>
                  <a:pt x="5235473" y="2854223"/>
                </a:lnTo>
                <a:lnTo>
                  <a:pt x="5234952" y="2904185"/>
                </a:lnTo>
                <a:lnTo>
                  <a:pt x="5233416" y="2953982"/>
                </a:lnTo>
                <a:lnTo>
                  <a:pt x="5230863" y="3003600"/>
                </a:lnTo>
                <a:lnTo>
                  <a:pt x="5227294" y="3053029"/>
                </a:lnTo>
                <a:lnTo>
                  <a:pt x="5222722" y="3102241"/>
                </a:lnTo>
                <a:lnTo>
                  <a:pt x="5217147" y="3151251"/>
                </a:lnTo>
                <a:lnTo>
                  <a:pt x="5210568" y="3200031"/>
                </a:lnTo>
                <a:lnTo>
                  <a:pt x="5203012" y="3248571"/>
                </a:lnTo>
                <a:lnTo>
                  <a:pt x="5194452" y="3296856"/>
                </a:lnTo>
                <a:lnTo>
                  <a:pt x="5184914" y="3344875"/>
                </a:lnTo>
                <a:lnTo>
                  <a:pt x="5174399" y="3392627"/>
                </a:lnTo>
                <a:lnTo>
                  <a:pt x="5162905" y="3440087"/>
                </a:lnTo>
                <a:lnTo>
                  <a:pt x="5150447" y="3487242"/>
                </a:lnTo>
                <a:lnTo>
                  <a:pt x="5137035" y="3534092"/>
                </a:lnTo>
                <a:lnTo>
                  <a:pt x="5122646" y="3580612"/>
                </a:lnTo>
                <a:lnTo>
                  <a:pt x="5107317" y="3626802"/>
                </a:lnTo>
                <a:lnTo>
                  <a:pt x="5091036" y="3672649"/>
                </a:lnTo>
                <a:lnTo>
                  <a:pt x="5073815" y="3718128"/>
                </a:lnTo>
                <a:lnTo>
                  <a:pt x="5055654" y="3763251"/>
                </a:lnTo>
                <a:lnTo>
                  <a:pt x="5036566" y="3807968"/>
                </a:lnTo>
                <a:lnTo>
                  <a:pt x="5016538" y="3852303"/>
                </a:lnTo>
                <a:lnTo>
                  <a:pt x="4995596" y="3896233"/>
                </a:lnTo>
                <a:lnTo>
                  <a:pt x="4973739" y="3939730"/>
                </a:lnTo>
                <a:lnTo>
                  <a:pt x="4950955" y="3982809"/>
                </a:lnTo>
                <a:lnTo>
                  <a:pt x="4927282" y="4025430"/>
                </a:lnTo>
                <a:lnTo>
                  <a:pt x="4902695" y="4067606"/>
                </a:lnTo>
                <a:lnTo>
                  <a:pt x="4877206" y="4109313"/>
                </a:lnTo>
                <a:lnTo>
                  <a:pt x="4850828" y="4150537"/>
                </a:lnTo>
                <a:lnTo>
                  <a:pt x="4823561" y="4191279"/>
                </a:lnTo>
                <a:lnTo>
                  <a:pt x="4795405" y="4231500"/>
                </a:lnTo>
                <a:lnTo>
                  <a:pt x="4766386" y="4271213"/>
                </a:lnTo>
                <a:lnTo>
                  <a:pt x="4736477" y="4310405"/>
                </a:lnTo>
                <a:lnTo>
                  <a:pt x="4705705" y="4349051"/>
                </a:lnTo>
                <a:lnTo>
                  <a:pt x="4674082" y="4387151"/>
                </a:lnTo>
                <a:lnTo>
                  <a:pt x="4641583" y="4424680"/>
                </a:lnTo>
                <a:lnTo>
                  <a:pt x="4608246" y="4461637"/>
                </a:lnTo>
                <a:lnTo>
                  <a:pt x="4574044" y="4497997"/>
                </a:lnTo>
                <a:lnTo>
                  <a:pt x="4539018" y="4533760"/>
                </a:lnTo>
                <a:lnTo>
                  <a:pt x="4503255" y="4568799"/>
                </a:lnTo>
                <a:lnTo>
                  <a:pt x="4466907" y="4602988"/>
                </a:lnTo>
                <a:lnTo>
                  <a:pt x="4429963" y="4636325"/>
                </a:lnTo>
                <a:lnTo>
                  <a:pt x="4401578" y="4660900"/>
                </a:lnTo>
                <a:lnTo>
                  <a:pt x="5075390" y="4660900"/>
                </a:lnTo>
                <a:lnTo>
                  <a:pt x="5115382" y="4611078"/>
                </a:lnTo>
                <a:lnTo>
                  <a:pt x="5145913" y="4571339"/>
                </a:lnTo>
                <a:lnTo>
                  <a:pt x="5175694" y="4531157"/>
                </a:lnTo>
                <a:lnTo>
                  <a:pt x="5204726" y="4490517"/>
                </a:lnTo>
                <a:lnTo>
                  <a:pt x="5233009" y="4449445"/>
                </a:lnTo>
                <a:lnTo>
                  <a:pt x="5260530" y="4407941"/>
                </a:lnTo>
                <a:lnTo>
                  <a:pt x="5287276" y="4366018"/>
                </a:lnTo>
                <a:lnTo>
                  <a:pt x="5313261" y="4323677"/>
                </a:lnTo>
                <a:lnTo>
                  <a:pt x="5338483" y="4280928"/>
                </a:lnTo>
                <a:lnTo>
                  <a:pt x="5362930" y="4237799"/>
                </a:lnTo>
                <a:lnTo>
                  <a:pt x="5386590" y="4194276"/>
                </a:lnTo>
                <a:lnTo>
                  <a:pt x="5409489" y="4150372"/>
                </a:lnTo>
                <a:lnTo>
                  <a:pt x="5431587" y="4106113"/>
                </a:lnTo>
                <a:lnTo>
                  <a:pt x="5452897" y="4061485"/>
                </a:lnTo>
                <a:lnTo>
                  <a:pt x="5473420" y="4016502"/>
                </a:lnTo>
                <a:lnTo>
                  <a:pt x="5493143" y="3971175"/>
                </a:lnTo>
                <a:lnTo>
                  <a:pt x="5512079" y="3925519"/>
                </a:lnTo>
                <a:lnTo>
                  <a:pt x="5530202" y="3879545"/>
                </a:lnTo>
                <a:lnTo>
                  <a:pt x="5547525" y="3833241"/>
                </a:lnTo>
                <a:lnTo>
                  <a:pt x="5564035" y="3786632"/>
                </a:lnTo>
                <a:lnTo>
                  <a:pt x="5579732" y="3739731"/>
                </a:lnTo>
                <a:lnTo>
                  <a:pt x="5594604" y="3692537"/>
                </a:lnTo>
                <a:lnTo>
                  <a:pt x="5608663" y="3645065"/>
                </a:lnTo>
                <a:lnTo>
                  <a:pt x="5621909" y="3597313"/>
                </a:lnTo>
                <a:lnTo>
                  <a:pt x="5634317" y="3549294"/>
                </a:lnTo>
                <a:lnTo>
                  <a:pt x="5645886" y="3501021"/>
                </a:lnTo>
                <a:lnTo>
                  <a:pt x="5656631" y="3452507"/>
                </a:lnTo>
                <a:lnTo>
                  <a:pt x="5666537" y="3403752"/>
                </a:lnTo>
                <a:lnTo>
                  <a:pt x="5675592" y="3354768"/>
                </a:lnTo>
                <a:lnTo>
                  <a:pt x="5683809" y="3305568"/>
                </a:lnTo>
                <a:lnTo>
                  <a:pt x="5691175" y="3256153"/>
                </a:lnTo>
                <a:lnTo>
                  <a:pt x="5697690" y="3206534"/>
                </a:lnTo>
                <a:lnTo>
                  <a:pt x="5703341" y="3156712"/>
                </a:lnTo>
                <a:lnTo>
                  <a:pt x="5708142" y="3106712"/>
                </a:lnTo>
                <a:lnTo>
                  <a:pt x="5712066" y="3056534"/>
                </a:lnTo>
                <a:lnTo>
                  <a:pt x="5715127" y="3006191"/>
                </a:lnTo>
                <a:lnTo>
                  <a:pt x="5717324" y="2955683"/>
                </a:lnTo>
                <a:lnTo>
                  <a:pt x="5718645" y="2905023"/>
                </a:lnTo>
                <a:lnTo>
                  <a:pt x="5719089" y="285422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DC1CC5EB-3124-0642-B63B-91D948721538}"/>
              </a:ext>
            </a:extLst>
          </p:cNvPr>
          <p:cNvSpPr/>
          <p:nvPr userDrawn="1"/>
        </p:nvSpPr>
        <p:spPr>
          <a:xfrm>
            <a:off x="333375" y="3962209"/>
            <a:ext cx="66675" cy="1061276"/>
          </a:xfrm>
          <a:custGeom>
            <a:avLst/>
            <a:gdLst/>
            <a:ahLst/>
            <a:cxnLst/>
            <a:rect l="l" t="t" r="r" b="b"/>
            <a:pathLst>
              <a:path w="88900" h="1572259">
                <a:moveTo>
                  <a:pt x="44450" y="0"/>
                </a:moveTo>
                <a:lnTo>
                  <a:pt x="27148" y="3901"/>
                </a:lnTo>
                <a:lnTo>
                  <a:pt x="13019" y="13800"/>
                </a:lnTo>
                <a:lnTo>
                  <a:pt x="3493" y="26987"/>
                </a:lnTo>
                <a:lnTo>
                  <a:pt x="0" y="40754"/>
                </a:lnTo>
                <a:lnTo>
                  <a:pt x="0" y="1531480"/>
                </a:lnTo>
                <a:lnTo>
                  <a:pt x="3493" y="1545247"/>
                </a:lnTo>
                <a:lnTo>
                  <a:pt x="13019" y="1558434"/>
                </a:lnTo>
                <a:lnTo>
                  <a:pt x="27148" y="1568333"/>
                </a:lnTo>
                <a:lnTo>
                  <a:pt x="44450" y="1572234"/>
                </a:lnTo>
                <a:lnTo>
                  <a:pt x="61751" y="1568333"/>
                </a:lnTo>
                <a:lnTo>
                  <a:pt x="75880" y="1558434"/>
                </a:lnTo>
                <a:lnTo>
                  <a:pt x="85406" y="1545247"/>
                </a:lnTo>
                <a:lnTo>
                  <a:pt x="88900" y="1531480"/>
                </a:lnTo>
                <a:lnTo>
                  <a:pt x="88900" y="40754"/>
                </a:lnTo>
                <a:lnTo>
                  <a:pt x="85406" y="26987"/>
                </a:lnTo>
                <a:lnTo>
                  <a:pt x="75880" y="13800"/>
                </a:lnTo>
                <a:lnTo>
                  <a:pt x="61751" y="3901"/>
                </a:lnTo>
                <a:lnTo>
                  <a:pt x="444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ACA2EDB-CBE6-D644-B8DF-DB6E7A0A40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741" y="4013645"/>
            <a:ext cx="5047059" cy="934872"/>
          </a:xfrm>
        </p:spPr>
        <p:txBody>
          <a:bodyPr/>
          <a:lstStyle>
            <a:lvl1pPr>
              <a:lnSpc>
                <a:spcPct val="100000"/>
              </a:lnSpc>
              <a:defRPr sz="2025" b="1">
                <a:solidFill>
                  <a:schemeClr val="bg1"/>
                </a:solidFill>
                <a:latin typeface="Montserrat" pitchFamily="2" charset="77"/>
              </a:defRPr>
            </a:lvl1pPr>
            <a:lvl2pPr>
              <a:lnSpc>
                <a:spcPct val="150000"/>
              </a:lnSpc>
              <a:defRPr sz="2025" b="1">
                <a:latin typeface="Montserrat" pitchFamily="2" charset="77"/>
              </a:defRPr>
            </a:lvl2pPr>
            <a:lvl3pPr>
              <a:lnSpc>
                <a:spcPct val="150000"/>
              </a:lnSpc>
              <a:defRPr sz="2025" b="1">
                <a:latin typeface="Montserrat" pitchFamily="2" charset="77"/>
              </a:defRPr>
            </a:lvl3pPr>
            <a:lvl4pPr>
              <a:lnSpc>
                <a:spcPct val="150000"/>
              </a:lnSpc>
              <a:defRPr sz="2025" b="1">
                <a:latin typeface="Montserrat" pitchFamily="2" charset="77"/>
              </a:defRPr>
            </a:lvl4pPr>
            <a:lvl5pPr>
              <a:lnSpc>
                <a:spcPct val="150000"/>
              </a:lnSpc>
              <a:defRPr sz="2025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sur 3 lignes maximum / Typo : Montserrat Bold / Corps : 30 pt</a:t>
            </a: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CCBE606C-56DA-AD48-8404-73EA16AD17C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0DD32D0-6177-7E44-80E6-1E79AA081E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375" y="224375"/>
            <a:ext cx="1524000" cy="830997"/>
          </a:xfrm>
        </p:spPr>
        <p:txBody>
          <a:bodyPr/>
          <a:lstStyle>
            <a:lvl1pPr>
              <a:defRPr sz="540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364591266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ddd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solidFill>
            <a:schemeClr val="bg1"/>
          </a:solidFill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-42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284031"/>
            <a:ext cx="8343900" cy="830997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5400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CCBE606C-56DA-AD48-8404-73EA16AD17C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0DD32D0-6177-7E44-80E6-1E79AA081E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375" y="224375"/>
            <a:ext cx="1524000" cy="830997"/>
          </a:xfrm>
        </p:spPr>
        <p:txBody>
          <a:bodyPr/>
          <a:lstStyle>
            <a:lvl1pPr>
              <a:defRPr sz="540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2.</a:t>
            </a: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120E3F93-8DF4-BE40-BE50-342045FBA043}"/>
              </a:ext>
            </a:extLst>
          </p:cNvPr>
          <p:cNvSpPr/>
          <p:nvPr userDrawn="1"/>
        </p:nvSpPr>
        <p:spPr>
          <a:xfrm>
            <a:off x="7010400" y="3746410"/>
            <a:ext cx="4704398" cy="2704631"/>
          </a:xfrm>
          <a:custGeom>
            <a:avLst/>
            <a:gdLst/>
            <a:ahLst/>
            <a:cxnLst/>
            <a:rect l="l" t="t" r="r" b="b"/>
            <a:pathLst>
              <a:path w="4890769" h="3124200">
                <a:moveTo>
                  <a:pt x="4785310" y="977899"/>
                </a:moveTo>
                <a:lnTo>
                  <a:pt x="4716076" y="977899"/>
                </a:lnTo>
                <a:lnTo>
                  <a:pt x="4686495" y="990599"/>
                </a:lnTo>
                <a:lnTo>
                  <a:pt x="4656330" y="990599"/>
                </a:lnTo>
                <a:lnTo>
                  <a:pt x="4625591" y="1003299"/>
                </a:lnTo>
                <a:lnTo>
                  <a:pt x="4594287" y="1003299"/>
                </a:lnTo>
                <a:lnTo>
                  <a:pt x="4562425" y="1015999"/>
                </a:lnTo>
                <a:lnTo>
                  <a:pt x="4530016" y="1015999"/>
                </a:lnTo>
                <a:lnTo>
                  <a:pt x="4497068" y="1028699"/>
                </a:lnTo>
                <a:lnTo>
                  <a:pt x="4463590" y="1028699"/>
                </a:lnTo>
                <a:lnTo>
                  <a:pt x="4429590" y="1041399"/>
                </a:lnTo>
                <a:lnTo>
                  <a:pt x="4395078" y="1041399"/>
                </a:lnTo>
                <a:lnTo>
                  <a:pt x="4324551" y="1066799"/>
                </a:lnTo>
                <a:lnTo>
                  <a:pt x="4288554" y="1066799"/>
                </a:lnTo>
                <a:lnTo>
                  <a:pt x="4215136" y="1092199"/>
                </a:lnTo>
                <a:lnTo>
                  <a:pt x="4177734" y="1092199"/>
                </a:lnTo>
                <a:lnTo>
                  <a:pt x="3984133" y="1155699"/>
                </a:lnTo>
                <a:lnTo>
                  <a:pt x="3944157" y="1155699"/>
                </a:lnTo>
                <a:lnTo>
                  <a:pt x="3696254" y="1231899"/>
                </a:lnTo>
                <a:lnTo>
                  <a:pt x="3653677" y="1257299"/>
                </a:lnTo>
                <a:lnTo>
                  <a:pt x="3480097" y="1308099"/>
                </a:lnTo>
                <a:lnTo>
                  <a:pt x="3435928" y="1333499"/>
                </a:lnTo>
                <a:lnTo>
                  <a:pt x="3346721" y="1358899"/>
                </a:lnTo>
                <a:lnTo>
                  <a:pt x="3301702" y="1384299"/>
                </a:lnTo>
                <a:lnTo>
                  <a:pt x="3210874" y="1409699"/>
                </a:lnTo>
                <a:lnTo>
                  <a:pt x="3165084" y="1435099"/>
                </a:lnTo>
                <a:lnTo>
                  <a:pt x="3119054" y="1447799"/>
                </a:lnTo>
                <a:lnTo>
                  <a:pt x="3026313" y="1498599"/>
                </a:lnTo>
                <a:lnTo>
                  <a:pt x="2979618" y="1511299"/>
                </a:lnTo>
                <a:lnTo>
                  <a:pt x="2885626" y="1562099"/>
                </a:lnTo>
                <a:lnTo>
                  <a:pt x="2838346" y="1574799"/>
                </a:lnTo>
                <a:lnTo>
                  <a:pt x="2259660" y="1879599"/>
                </a:lnTo>
                <a:lnTo>
                  <a:pt x="2210760" y="1917699"/>
                </a:lnTo>
                <a:lnTo>
                  <a:pt x="2112780" y="1968499"/>
                </a:lnTo>
                <a:lnTo>
                  <a:pt x="2063717" y="2006599"/>
                </a:lnTo>
                <a:lnTo>
                  <a:pt x="2014618" y="2031999"/>
                </a:lnTo>
                <a:lnTo>
                  <a:pt x="1965491" y="2070099"/>
                </a:lnTo>
                <a:lnTo>
                  <a:pt x="1916346" y="2095499"/>
                </a:lnTo>
                <a:lnTo>
                  <a:pt x="1818034" y="2171699"/>
                </a:lnTo>
                <a:lnTo>
                  <a:pt x="1768885" y="2197099"/>
                </a:lnTo>
                <a:lnTo>
                  <a:pt x="1231269" y="2616199"/>
                </a:lnTo>
                <a:lnTo>
                  <a:pt x="1182899" y="2666999"/>
                </a:lnTo>
                <a:lnTo>
                  <a:pt x="1086535" y="2743199"/>
                </a:lnTo>
                <a:lnTo>
                  <a:pt x="1038559" y="2793999"/>
                </a:lnTo>
                <a:lnTo>
                  <a:pt x="990731" y="2832099"/>
                </a:lnTo>
                <a:lnTo>
                  <a:pt x="895556" y="2933699"/>
                </a:lnTo>
                <a:lnTo>
                  <a:pt x="869488" y="2971799"/>
                </a:lnTo>
                <a:lnTo>
                  <a:pt x="860559" y="3009899"/>
                </a:lnTo>
                <a:lnTo>
                  <a:pt x="868811" y="3060699"/>
                </a:lnTo>
                <a:lnTo>
                  <a:pt x="894286" y="3098799"/>
                </a:lnTo>
                <a:lnTo>
                  <a:pt x="912769" y="3111499"/>
                </a:lnTo>
                <a:lnTo>
                  <a:pt x="933319" y="3124199"/>
                </a:lnTo>
                <a:lnTo>
                  <a:pt x="1021619" y="3124199"/>
                </a:lnTo>
                <a:lnTo>
                  <a:pt x="1041878" y="3111499"/>
                </a:lnTo>
                <a:lnTo>
                  <a:pt x="1060199" y="3098799"/>
                </a:lnTo>
                <a:lnTo>
                  <a:pt x="1107802" y="3047999"/>
                </a:lnTo>
                <a:lnTo>
                  <a:pt x="1155578" y="3009899"/>
                </a:lnTo>
                <a:lnTo>
                  <a:pt x="1203517" y="2959099"/>
                </a:lnTo>
                <a:lnTo>
                  <a:pt x="1251611" y="2920999"/>
                </a:lnTo>
                <a:lnTo>
                  <a:pt x="1299849" y="2870199"/>
                </a:lnTo>
                <a:lnTo>
                  <a:pt x="1348221" y="2832099"/>
                </a:lnTo>
                <a:lnTo>
                  <a:pt x="1396720" y="2781299"/>
                </a:lnTo>
                <a:lnTo>
                  <a:pt x="1886515" y="2400299"/>
                </a:lnTo>
                <a:lnTo>
                  <a:pt x="1935767" y="2374899"/>
                </a:lnTo>
                <a:lnTo>
                  <a:pt x="2034296" y="2298699"/>
                </a:lnTo>
                <a:lnTo>
                  <a:pt x="2083554" y="2273299"/>
                </a:lnTo>
                <a:lnTo>
                  <a:pt x="2132795" y="2235199"/>
                </a:lnTo>
                <a:lnTo>
                  <a:pt x="2182009" y="2209799"/>
                </a:lnTo>
                <a:lnTo>
                  <a:pt x="2231188" y="2171699"/>
                </a:lnTo>
                <a:lnTo>
                  <a:pt x="2329399" y="2120899"/>
                </a:lnTo>
                <a:lnTo>
                  <a:pt x="2378413" y="2082799"/>
                </a:lnTo>
                <a:lnTo>
                  <a:pt x="2622182" y="1955799"/>
                </a:lnTo>
                <a:lnTo>
                  <a:pt x="2670610" y="1917699"/>
                </a:lnTo>
                <a:lnTo>
                  <a:pt x="2718906" y="1904999"/>
                </a:lnTo>
                <a:lnTo>
                  <a:pt x="2958093" y="1777999"/>
                </a:lnTo>
                <a:lnTo>
                  <a:pt x="3005405" y="1765299"/>
                </a:lnTo>
                <a:lnTo>
                  <a:pt x="3099426" y="1714499"/>
                </a:lnTo>
                <a:lnTo>
                  <a:pt x="3146117" y="1701799"/>
                </a:lnTo>
                <a:lnTo>
                  <a:pt x="3192582" y="1676399"/>
                </a:lnTo>
                <a:lnTo>
                  <a:pt x="3238812" y="1663699"/>
                </a:lnTo>
                <a:lnTo>
                  <a:pt x="3284797" y="1638299"/>
                </a:lnTo>
                <a:lnTo>
                  <a:pt x="3330527" y="1625599"/>
                </a:lnTo>
                <a:lnTo>
                  <a:pt x="3375993" y="1600199"/>
                </a:lnTo>
                <a:lnTo>
                  <a:pt x="3421187" y="1587499"/>
                </a:lnTo>
                <a:lnTo>
                  <a:pt x="3466097" y="1562099"/>
                </a:lnTo>
                <a:lnTo>
                  <a:pt x="3599035" y="1523999"/>
                </a:lnTo>
                <a:lnTo>
                  <a:pt x="3642719" y="1498599"/>
                </a:lnTo>
                <a:lnTo>
                  <a:pt x="3938724" y="1409699"/>
                </a:lnTo>
                <a:lnTo>
                  <a:pt x="4138441" y="1346199"/>
                </a:lnTo>
                <a:lnTo>
                  <a:pt x="4177090" y="1346199"/>
                </a:lnTo>
                <a:lnTo>
                  <a:pt x="4290275" y="1308099"/>
                </a:lnTo>
                <a:lnTo>
                  <a:pt x="4327051" y="1308099"/>
                </a:lnTo>
                <a:lnTo>
                  <a:pt x="4399119" y="1282699"/>
                </a:lnTo>
                <a:lnTo>
                  <a:pt x="4434391" y="1282699"/>
                </a:lnTo>
                <a:lnTo>
                  <a:pt x="4503365" y="1257299"/>
                </a:lnTo>
                <a:lnTo>
                  <a:pt x="4537049" y="1257299"/>
                </a:lnTo>
                <a:lnTo>
                  <a:pt x="4570183" y="1244599"/>
                </a:lnTo>
                <a:lnTo>
                  <a:pt x="4602759" y="1244599"/>
                </a:lnTo>
                <a:lnTo>
                  <a:pt x="4634767" y="1231899"/>
                </a:lnTo>
                <a:lnTo>
                  <a:pt x="4666198" y="1231899"/>
                </a:lnTo>
                <a:lnTo>
                  <a:pt x="4697042" y="1219199"/>
                </a:lnTo>
                <a:lnTo>
                  <a:pt x="4756933" y="1219199"/>
                </a:lnTo>
                <a:lnTo>
                  <a:pt x="4785960" y="1206499"/>
                </a:lnTo>
                <a:lnTo>
                  <a:pt x="4810280" y="1206499"/>
                </a:lnTo>
                <a:lnTo>
                  <a:pt x="4849252" y="1181099"/>
                </a:lnTo>
                <a:lnTo>
                  <a:pt x="4874529" y="1142999"/>
                </a:lnTo>
                <a:lnTo>
                  <a:pt x="4884014" y="1092199"/>
                </a:lnTo>
                <a:lnTo>
                  <a:pt x="4875609" y="1054099"/>
                </a:lnTo>
                <a:lnTo>
                  <a:pt x="4853888" y="1015999"/>
                </a:lnTo>
                <a:lnTo>
                  <a:pt x="4822686" y="990599"/>
                </a:lnTo>
                <a:lnTo>
                  <a:pt x="4785310" y="977899"/>
                </a:lnTo>
                <a:close/>
              </a:path>
              <a:path w="4890769" h="3124200">
                <a:moveTo>
                  <a:pt x="4793146" y="1574799"/>
                </a:moveTo>
                <a:lnTo>
                  <a:pt x="4733623" y="1574799"/>
                </a:lnTo>
                <a:lnTo>
                  <a:pt x="4699043" y="1587499"/>
                </a:lnTo>
                <a:lnTo>
                  <a:pt x="4663939" y="1587499"/>
                </a:lnTo>
                <a:lnTo>
                  <a:pt x="4592195" y="1612899"/>
                </a:lnTo>
                <a:lnTo>
                  <a:pt x="4555575" y="1612899"/>
                </a:lnTo>
                <a:lnTo>
                  <a:pt x="4518468" y="1625599"/>
                </a:lnTo>
                <a:lnTo>
                  <a:pt x="4365370" y="1676399"/>
                </a:lnTo>
                <a:lnTo>
                  <a:pt x="4325976" y="1676399"/>
                </a:lnTo>
                <a:lnTo>
                  <a:pt x="4122760" y="1739899"/>
                </a:lnTo>
                <a:lnTo>
                  <a:pt x="4080936" y="1765299"/>
                </a:lnTo>
                <a:lnTo>
                  <a:pt x="3866431" y="1828799"/>
                </a:lnTo>
                <a:lnTo>
                  <a:pt x="3822521" y="1854199"/>
                </a:lnTo>
                <a:lnTo>
                  <a:pt x="3733768" y="1879599"/>
                </a:lnTo>
                <a:lnTo>
                  <a:pt x="3688944" y="1904999"/>
                </a:lnTo>
                <a:lnTo>
                  <a:pt x="3643834" y="1917699"/>
                </a:lnTo>
                <a:lnTo>
                  <a:pt x="3598449" y="1943099"/>
                </a:lnTo>
                <a:lnTo>
                  <a:pt x="3552797" y="1955799"/>
                </a:lnTo>
                <a:lnTo>
                  <a:pt x="3506889" y="1981199"/>
                </a:lnTo>
                <a:lnTo>
                  <a:pt x="3460733" y="1993899"/>
                </a:lnTo>
                <a:lnTo>
                  <a:pt x="3367719" y="2044699"/>
                </a:lnTo>
                <a:lnTo>
                  <a:pt x="3320879" y="2057399"/>
                </a:lnTo>
                <a:lnTo>
                  <a:pt x="3226581" y="2108199"/>
                </a:lnTo>
                <a:lnTo>
                  <a:pt x="3179143" y="2120899"/>
                </a:lnTo>
                <a:lnTo>
                  <a:pt x="2793952" y="2324099"/>
                </a:lnTo>
                <a:lnTo>
                  <a:pt x="2745236" y="2362199"/>
                </a:lnTo>
                <a:lnTo>
                  <a:pt x="2598561" y="2438399"/>
                </a:lnTo>
                <a:lnTo>
                  <a:pt x="2549525" y="2476499"/>
                </a:lnTo>
                <a:lnTo>
                  <a:pt x="2500433" y="2501899"/>
                </a:lnTo>
                <a:lnTo>
                  <a:pt x="2451295" y="2539999"/>
                </a:lnTo>
                <a:lnTo>
                  <a:pt x="2402121" y="2565399"/>
                </a:lnTo>
                <a:lnTo>
                  <a:pt x="2352918" y="2603499"/>
                </a:lnTo>
                <a:lnTo>
                  <a:pt x="2303699" y="2628899"/>
                </a:lnTo>
                <a:lnTo>
                  <a:pt x="2254471" y="2666999"/>
                </a:lnTo>
                <a:lnTo>
                  <a:pt x="2205244" y="2692399"/>
                </a:lnTo>
                <a:lnTo>
                  <a:pt x="1910451" y="2920999"/>
                </a:lnTo>
                <a:lnTo>
                  <a:pt x="1880121" y="2946399"/>
                </a:lnTo>
                <a:lnTo>
                  <a:pt x="1866187" y="2997199"/>
                </a:lnTo>
                <a:lnTo>
                  <a:pt x="1869305" y="3035299"/>
                </a:lnTo>
                <a:lnTo>
                  <a:pt x="1890131" y="3086099"/>
                </a:lnTo>
                <a:lnTo>
                  <a:pt x="1909449" y="3098799"/>
                </a:lnTo>
                <a:lnTo>
                  <a:pt x="1932008" y="3111499"/>
                </a:lnTo>
                <a:lnTo>
                  <a:pt x="1956773" y="3124199"/>
                </a:lnTo>
                <a:lnTo>
                  <a:pt x="2020177" y="3124199"/>
                </a:lnTo>
                <a:lnTo>
                  <a:pt x="2038044" y="3111499"/>
                </a:lnTo>
                <a:lnTo>
                  <a:pt x="2054812" y="3098799"/>
                </a:lnTo>
                <a:lnTo>
                  <a:pt x="2202074" y="2984499"/>
                </a:lnTo>
                <a:lnTo>
                  <a:pt x="2251257" y="2959099"/>
                </a:lnTo>
                <a:lnTo>
                  <a:pt x="2398952" y="2844799"/>
                </a:lnTo>
                <a:lnTo>
                  <a:pt x="2448197" y="2819399"/>
                </a:lnTo>
                <a:lnTo>
                  <a:pt x="2497433" y="2781299"/>
                </a:lnTo>
                <a:lnTo>
                  <a:pt x="2546648" y="2755899"/>
                </a:lnTo>
                <a:lnTo>
                  <a:pt x="2595833" y="2717799"/>
                </a:lnTo>
                <a:lnTo>
                  <a:pt x="2644977" y="2692399"/>
                </a:lnTo>
                <a:lnTo>
                  <a:pt x="2694069" y="2654299"/>
                </a:lnTo>
                <a:lnTo>
                  <a:pt x="2840939" y="2578099"/>
                </a:lnTo>
                <a:lnTo>
                  <a:pt x="2889725" y="2539999"/>
                </a:lnTo>
                <a:lnTo>
                  <a:pt x="3275472" y="2336799"/>
                </a:lnTo>
                <a:lnTo>
                  <a:pt x="3322968" y="2324099"/>
                </a:lnTo>
                <a:lnTo>
                  <a:pt x="3464250" y="2247899"/>
                </a:lnTo>
                <a:lnTo>
                  <a:pt x="3510907" y="2235199"/>
                </a:lnTo>
                <a:lnTo>
                  <a:pt x="3557328" y="2209799"/>
                </a:lnTo>
                <a:lnTo>
                  <a:pt x="3603504" y="2197099"/>
                </a:lnTo>
                <a:lnTo>
                  <a:pt x="3649424" y="2171699"/>
                </a:lnTo>
                <a:lnTo>
                  <a:pt x="3695077" y="2158999"/>
                </a:lnTo>
                <a:lnTo>
                  <a:pt x="3740454" y="2133599"/>
                </a:lnTo>
                <a:lnTo>
                  <a:pt x="3785544" y="2120899"/>
                </a:lnTo>
                <a:lnTo>
                  <a:pt x="3830337" y="2095499"/>
                </a:lnTo>
                <a:lnTo>
                  <a:pt x="3918991" y="2070099"/>
                </a:lnTo>
                <a:lnTo>
                  <a:pt x="3962832" y="2044699"/>
                </a:lnTo>
                <a:lnTo>
                  <a:pt x="4176759" y="1981199"/>
                </a:lnTo>
                <a:lnTo>
                  <a:pt x="4218418" y="1955799"/>
                </a:lnTo>
                <a:lnTo>
                  <a:pt x="4380955" y="1904999"/>
                </a:lnTo>
                <a:lnTo>
                  <a:pt x="4420513" y="1904999"/>
                </a:lnTo>
                <a:lnTo>
                  <a:pt x="4574138" y="1854199"/>
                </a:lnTo>
                <a:lnTo>
                  <a:pt x="4611340" y="1841499"/>
                </a:lnTo>
                <a:lnTo>
                  <a:pt x="4648041" y="1841499"/>
                </a:lnTo>
                <a:lnTo>
                  <a:pt x="4719894" y="1816099"/>
                </a:lnTo>
                <a:lnTo>
                  <a:pt x="4755027" y="1816099"/>
                </a:lnTo>
                <a:lnTo>
                  <a:pt x="4789617" y="1803399"/>
                </a:lnTo>
                <a:lnTo>
                  <a:pt x="4830644" y="1777999"/>
                </a:lnTo>
                <a:lnTo>
                  <a:pt x="4860863" y="1752599"/>
                </a:lnTo>
                <a:lnTo>
                  <a:pt x="4877630" y="1714499"/>
                </a:lnTo>
                <a:lnTo>
                  <a:pt x="4878301" y="1663699"/>
                </a:lnTo>
                <a:lnTo>
                  <a:pt x="4862045" y="1625599"/>
                </a:lnTo>
                <a:lnTo>
                  <a:pt x="4832364" y="1587499"/>
                </a:lnTo>
                <a:lnTo>
                  <a:pt x="4793146" y="1574799"/>
                </a:lnTo>
                <a:close/>
              </a:path>
              <a:path w="4890769" h="3124200">
                <a:moveTo>
                  <a:pt x="4772141" y="2197099"/>
                </a:moveTo>
                <a:lnTo>
                  <a:pt x="4725736" y="2197099"/>
                </a:lnTo>
                <a:lnTo>
                  <a:pt x="4627158" y="2222499"/>
                </a:lnTo>
                <a:lnTo>
                  <a:pt x="4578066" y="2247899"/>
                </a:lnTo>
                <a:lnTo>
                  <a:pt x="4431600" y="2285999"/>
                </a:lnTo>
                <a:lnTo>
                  <a:pt x="4383056" y="2311399"/>
                </a:lnTo>
                <a:lnTo>
                  <a:pt x="4334655" y="2324099"/>
                </a:lnTo>
                <a:lnTo>
                  <a:pt x="4286397" y="2349499"/>
                </a:lnTo>
                <a:lnTo>
                  <a:pt x="4190326" y="2374899"/>
                </a:lnTo>
                <a:lnTo>
                  <a:pt x="4142515" y="2400299"/>
                </a:lnTo>
                <a:lnTo>
                  <a:pt x="4094858" y="2412999"/>
                </a:lnTo>
                <a:lnTo>
                  <a:pt x="4047356" y="2438399"/>
                </a:lnTo>
                <a:lnTo>
                  <a:pt x="4000011" y="2451099"/>
                </a:lnTo>
                <a:lnTo>
                  <a:pt x="3952827" y="2476499"/>
                </a:lnTo>
                <a:lnTo>
                  <a:pt x="3905803" y="2489199"/>
                </a:lnTo>
                <a:lnTo>
                  <a:pt x="3812251" y="2539999"/>
                </a:lnTo>
                <a:lnTo>
                  <a:pt x="3765725" y="2552699"/>
                </a:lnTo>
                <a:lnTo>
                  <a:pt x="3673188" y="2603499"/>
                </a:lnTo>
                <a:lnTo>
                  <a:pt x="3627180" y="2616199"/>
                </a:lnTo>
                <a:lnTo>
                  <a:pt x="3444937" y="2717799"/>
                </a:lnTo>
                <a:lnTo>
                  <a:pt x="3399834" y="2730499"/>
                </a:lnTo>
                <a:lnTo>
                  <a:pt x="3089481" y="2908299"/>
                </a:lnTo>
                <a:lnTo>
                  <a:pt x="3054804" y="2933699"/>
                </a:lnTo>
                <a:lnTo>
                  <a:pt x="3035427" y="2984499"/>
                </a:lnTo>
                <a:lnTo>
                  <a:pt x="3032684" y="3022599"/>
                </a:lnTo>
                <a:lnTo>
                  <a:pt x="3047914" y="3073399"/>
                </a:lnTo>
                <a:lnTo>
                  <a:pt x="3067301" y="3098799"/>
                </a:lnTo>
                <a:lnTo>
                  <a:pt x="3091645" y="3111499"/>
                </a:lnTo>
                <a:lnTo>
                  <a:pt x="3119424" y="3124199"/>
                </a:lnTo>
                <a:lnTo>
                  <a:pt x="3194217" y="3124199"/>
                </a:lnTo>
                <a:lnTo>
                  <a:pt x="3208543" y="3111499"/>
                </a:lnTo>
                <a:lnTo>
                  <a:pt x="3517977" y="2933699"/>
                </a:lnTo>
                <a:lnTo>
                  <a:pt x="3562971" y="2920999"/>
                </a:lnTo>
                <a:lnTo>
                  <a:pt x="3699086" y="2844799"/>
                </a:lnTo>
                <a:lnTo>
                  <a:pt x="3744828" y="2832099"/>
                </a:lnTo>
                <a:lnTo>
                  <a:pt x="3883134" y="2755899"/>
                </a:lnTo>
                <a:lnTo>
                  <a:pt x="3929588" y="2743199"/>
                </a:lnTo>
                <a:lnTo>
                  <a:pt x="3976214" y="2717799"/>
                </a:lnTo>
                <a:lnTo>
                  <a:pt x="4023010" y="2705099"/>
                </a:lnTo>
                <a:lnTo>
                  <a:pt x="4069974" y="2679699"/>
                </a:lnTo>
                <a:lnTo>
                  <a:pt x="4117104" y="2666999"/>
                </a:lnTo>
                <a:lnTo>
                  <a:pt x="4164397" y="2641599"/>
                </a:lnTo>
                <a:lnTo>
                  <a:pt x="4211851" y="2628899"/>
                </a:lnTo>
                <a:lnTo>
                  <a:pt x="4259464" y="2603499"/>
                </a:lnTo>
                <a:lnTo>
                  <a:pt x="4307233" y="2590799"/>
                </a:lnTo>
                <a:lnTo>
                  <a:pt x="4355157" y="2565399"/>
                </a:lnTo>
                <a:lnTo>
                  <a:pt x="4403232" y="2552699"/>
                </a:lnTo>
                <a:lnTo>
                  <a:pt x="4451457" y="2527299"/>
                </a:lnTo>
                <a:lnTo>
                  <a:pt x="4597008" y="2489199"/>
                </a:lnTo>
                <a:lnTo>
                  <a:pt x="4645809" y="2463799"/>
                </a:lnTo>
                <a:lnTo>
                  <a:pt x="4793033" y="2425699"/>
                </a:lnTo>
                <a:lnTo>
                  <a:pt x="4834140" y="2400299"/>
                </a:lnTo>
                <a:lnTo>
                  <a:pt x="4862655" y="2362199"/>
                </a:lnTo>
                <a:lnTo>
                  <a:pt x="4876044" y="2324099"/>
                </a:lnTo>
                <a:lnTo>
                  <a:pt x="4871773" y="2273299"/>
                </a:lnTo>
                <a:lnTo>
                  <a:pt x="4849850" y="2235199"/>
                </a:lnTo>
                <a:lnTo>
                  <a:pt x="4815076" y="2209799"/>
                </a:lnTo>
                <a:lnTo>
                  <a:pt x="4772141" y="2197099"/>
                </a:lnTo>
                <a:close/>
              </a:path>
              <a:path w="4890769" h="3124200">
                <a:moveTo>
                  <a:pt x="103923" y="1765299"/>
                </a:moveTo>
                <a:lnTo>
                  <a:pt x="60986" y="1777999"/>
                </a:lnTo>
                <a:lnTo>
                  <a:pt x="26201" y="1816099"/>
                </a:lnTo>
                <a:lnTo>
                  <a:pt x="4270" y="1854199"/>
                </a:lnTo>
                <a:lnTo>
                  <a:pt x="0" y="1904999"/>
                </a:lnTo>
                <a:lnTo>
                  <a:pt x="13388" y="1943099"/>
                </a:lnTo>
                <a:lnTo>
                  <a:pt x="41903" y="1981199"/>
                </a:lnTo>
                <a:lnTo>
                  <a:pt x="83010" y="1993899"/>
                </a:lnTo>
                <a:lnTo>
                  <a:pt x="131734" y="2019299"/>
                </a:lnTo>
                <a:lnTo>
                  <a:pt x="278147" y="2057399"/>
                </a:lnTo>
                <a:lnTo>
                  <a:pt x="326995" y="2082799"/>
                </a:lnTo>
                <a:lnTo>
                  <a:pt x="424696" y="2108199"/>
                </a:lnTo>
                <a:lnTo>
                  <a:pt x="473527" y="2133599"/>
                </a:lnTo>
                <a:lnTo>
                  <a:pt x="522331" y="2146299"/>
                </a:lnTo>
                <a:lnTo>
                  <a:pt x="571098" y="2171699"/>
                </a:lnTo>
                <a:lnTo>
                  <a:pt x="668478" y="2197099"/>
                </a:lnTo>
                <a:lnTo>
                  <a:pt x="717070" y="2222499"/>
                </a:lnTo>
                <a:lnTo>
                  <a:pt x="560755" y="2374899"/>
                </a:lnTo>
                <a:lnTo>
                  <a:pt x="522013" y="2400299"/>
                </a:lnTo>
                <a:lnTo>
                  <a:pt x="483442" y="2438399"/>
                </a:lnTo>
                <a:lnTo>
                  <a:pt x="445061" y="2489199"/>
                </a:lnTo>
                <a:lnTo>
                  <a:pt x="419681" y="2527299"/>
                </a:lnTo>
                <a:lnTo>
                  <a:pt x="411533" y="2565399"/>
                </a:lnTo>
                <a:lnTo>
                  <a:pt x="420569" y="2616199"/>
                </a:lnTo>
                <a:lnTo>
                  <a:pt x="446738" y="2654299"/>
                </a:lnTo>
                <a:lnTo>
                  <a:pt x="465034" y="2666999"/>
                </a:lnTo>
                <a:lnTo>
                  <a:pt x="485243" y="2679699"/>
                </a:lnTo>
                <a:lnTo>
                  <a:pt x="573536" y="2679699"/>
                </a:lnTo>
                <a:lnTo>
                  <a:pt x="594135" y="2666999"/>
                </a:lnTo>
                <a:lnTo>
                  <a:pt x="612638" y="2641599"/>
                </a:lnTo>
                <a:lnTo>
                  <a:pt x="779535" y="2489199"/>
                </a:lnTo>
                <a:lnTo>
                  <a:pt x="835883" y="2425699"/>
                </a:lnTo>
                <a:lnTo>
                  <a:pt x="949372" y="2324099"/>
                </a:lnTo>
                <a:lnTo>
                  <a:pt x="1006418" y="2285999"/>
                </a:lnTo>
                <a:lnTo>
                  <a:pt x="1178200" y="2133599"/>
                </a:lnTo>
                <a:lnTo>
                  <a:pt x="1235517" y="2095499"/>
                </a:lnTo>
                <a:lnTo>
                  <a:pt x="1292785" y="2044699"/>
                </a:lnTo>
                <a:lnTo>
                  <a:pt x="915368" y="2044699"/>
                </a:lnTo>
                <a:lnTo>
                  <a:pt x="867895" y="2031999"/>
                </a:lnTo>
                <a:lnTo>
                  <a:pt x="820333" y="2006599"/>
                </a:lnTo>
                <a:lnTo>
                  <a:pt x="772691" y="1993899"/>
                </a:lnTo>
                <a:lnTo>
                  <a:pt x="724979" y="1968499"/>
                </a:lnTo>
                <a:lnTo>
                  <a:pt x="677205" y="1955799"/>
                </a:lnTo>
                <a:lnTo>
                  <a:pt x="629379" y="1930399"/>
                </a:lnTo>
                <a:lnTo>
                  <a:pt x="533609" y="1904999"/>
                </a:lnTo>
                <a:lnTo>
                  <a:pt x="485683" y="1879599"/>
                </a:lnTo>
                <a:lnTo>
                  <a:pt x="389796" y="1854199"/>
                </a:lnTo>
                <a:lnTo>
                  <a:pt x="341853" y="1828799"/>
                </a:lnTo>
                <a:lnTo>
                  <a:pt x="103923" y="1765299"/>
                </a:lnTo>
                <a:close/>
              </a:path>
              <a:path w="4890769" h="3124200">
                <a:moveTo>
                  <a:pt x="146942" y="1155699"/>
                </a:moveTo>
                <a:lnTo>
                  <a:pt x="100367" y="1155699"/>
                </a:lnTo>
                <a:lnTo>
                  <a:pt x="58319" y="1168399"/>
                </a:lnTo>
                <a:lnTo>
                  <a:pt x="25328" y="1193799"/>
                </a:lnTo>
                <a:lnTo>
                  <a:pt x="5921" y="1244599"/>
                </a:lnTo>
                <a:lnTo>
                  <a:pt x="4469" y="1282699"/>
                </a:lnTo>
                <a:lnTo>
                  <a:pt x="20431" y="1333499"/>
                </a:lnTo>
                <a:lnTo>
                  <a:pt x="50994" y="1358899"/>
                </a:lnTo>
                <a:lnTo>
                  <a:pt x="93348" y="1384299"/>
                </a:lnTo>
                <a:lnTo>
                  <a:pt x="666954" y="1536699"/>
                </a:lnTo>
                <a:lnTo>
                  <a:pt x="714292" y="1562099"/>
                </a:lnTo>
                <a:lnTo>
                  <a:pt x="808707" y="1587499"/>
                </a:lnTo>
                <a:lnTo>
                  <a:pt x="855777" y="1612899"/>
                </a:lnTo>
                <a:lnTo>
                  <a:pt x="949628" y="1638299"/>
                </a:lnTo>
                <a:lnTo>
                  <a:pt x="996402" y="1663699"/>
                </a:lnTo>
                <a:lnTo>
                  <a:pt x="1089631" y="1689099"/>
                </a:lnTo>
                <a:lnTo>
                  <a:pt x="1136081" y="1714499"/>
                </a:lnTo>
                <a:lnTo>
                  <a:pt x="1182415" y="1727199"/>
                </a:lnTo>
                <a:lnTo>
                  <a:pt x="1228632" y="1752599"/>
                </a:lnTo>
                <a:lnTo>
                  <a:pt x="1274727" y="1765299"/>
                </a:lnTo>
                <a:lnTo>
                  <a:pt x="1235231" y="1803399"/>
                </a:lnTo>
                <a:lnTo>
                  <a:pt x="1155813" y="1854199"/>
                </a:lnTo>
                <a:lnTo>
                  <a:pt x="1115924" y="1892299"/>
                </a:lnTo>
                <a:lnTo>
                  <a:pt x="1075939" y="1917699"/>
                </a:lnTo>
                <a:lnTo>
                  <a:pt x="1035874" y="1955799"/>
                </a:lnTo>
                <a:lnTo>
                  <a:pt x="995746" y="1981199"/>
                </a:lnTo>
                <a:lnTo>
                  <a:pt x="955571" y="2019299"/>
                </a:lnTo>
                <a:lnTo>
                  <a:pt x="915368" y="2044699"/>
                </a:lnTo>
                <a:lnTo>
                  <a:pt x="1292785" y="2044699"/>
                </a:lnTo>
                <a:lnTo>
                  <a:pt x="1463819" y="1930399"/>
                </a:lnTo>
                <a:lnTo>
                  <a:pt x="1520417" y="1879599"/>
                </a:lnTo>
                <a:lnTo>
                  <a:pt x="1688312" y="1765299"/>
                </a:lnTo>
                <a:lnTo>
                  <a:pt x="1743487" y="1739899"/>
                </a:lnTo>
                <a:lnTo>
                  <a:pt x="1852369" y="1663699"/>
                </a:lnTo>
                <a:lnTo>
                  <a:pt x="1905982" y="1638299"/>
                </a:lnTo>
                <a:lnTo>
                  <a:pt x="1941315" y="1612899"/>
                </a:lnTo>
                <a:lnTo>
                  <a:pt x="1499365" y="1612899"/>
                </a:lnTo>
                <a:lnTo>
                  <a:pt x="1452483" y="1587499"/>
                </a:lnTo>
                <a:lnTo>
                  <a:pt x="1405468" y="1574799"/>
                </a:lnTo>
                <a:lnTo>
                  <a:pt x="1358324" y="1549399"/>
                </a:lnTo>
                <a:lnTo>
                  <a:pt x="1311053" y="1536699"/>
                </a:lnTo>
                <a:lnTo>
                  <a:pt x="1263658" y="1511299"/>
                </a:lnTo>
                <a:lnTo>
                  <a:pt x="1216144" y="1498599"/>
                </a:lnTo>
                <a:lnTo>
                  <a:pt x="1168512" y="1473199"/>
                </a:lnTo>
                <a:lnTo>
                  <a:pt x="1120767" y="1460499"/>
                </a:lnTo>
                <a:lnTo>
                  <a:pt x="1072911" y="1435099"/>
                </a:lnTo>
                <a:lnTo>
                  <a:pt x="1024948" y="1422399"/>
                </a:lnTo>
                <a:lnTo>
                  <a:pt x="976881" y="1396999"/>
                </a:lnTo>
                <a:lnTo>
                  <a:pt x="880448" y="1371599"/>
                </a:lnTo>
                <a:lnTo>
                  <a:pt x="832088" y="1346199"/>
                </a:lnTo>
                <a:lnTo>
                  <a:pt x="686474" y="1308099"/>
                </a:lnTo>
                <a:lnTo>
                  <a:pt x="637768" y="1282699"/>
                </a:lnTo>
                <a:lnTo>
                  <a:pt x="146942" y="1155699"/>
                </a:lnTo>
                <a:close/>
              </a:path>
              <a:path w="4890769" h="3124200">
                <a:moveTo>
                  <a:pt x="177646" y="558799"/>
                </a:moveTo>
                <a:lnTo>
                  <a:pt x="96715" y="558799"/>
                </a:lnTo>
                <a:lnTo>
                  <a:pt x="55797" y="584199"/>
                </a:lnTo>
                <a:lnTo>
                  <a:pt x="24866" y="609599"/>
                </a:lnTo>
                <a:lnTo>
                  <a:pt x="8258" y="660399"/>
                </a:lnTo>
                <a:lnTo>
                  <a:pt x="9843" y="698499"/>
                </a:lnTo>
                <a:lnTo>
                  <a:pt x="28513" y="749299"/>
                </a:lnTo>
                <a:lnTo>
                  <a:pt x="61163" y="774699"/>
                </a:lnTo>
                <a:lnTo>
                  <a:pt x="104689" y="787399"/>
                </a:lnTo>
                <a:lnTo>
                  <a:pt x="140075" y="800099"/>
                </a:lnTo>
                <a:lnTo>
                  <a:pt x="176400" y="800099"/>
                </a:lnTo>
                <a:lnTo>
                  <a:pt x="213647" y="812799"/>
                </a:lnTo>
                <a:lnTo>
                  <a:pt x="251799" y="812799"/>
                </a:lnTo>
                <a:lnTo>
                  <a:pt x="330750" y="838199"/>
                </a:lnTo>
                <a:lnTo>
                  <a:pt x="371514" y="838199"/>
                </a:lnTo>
                <a:lnTo>
                  <a:pt x="455534" y="863599"/>
                </a:lnTo>
                <a:lnTo>
                  <a:pt x="498756" y="863599"/>
                </a:lnTo>
                <a:lnTo>
                  <a:pt x="542764" y="876299"/>
                </a:lnTo>
                <a:lnTo>
                  <a:pt x="726304" y="927099"/>
                </a:lnTo>
                <a:lnTo>
                  <a:pt x="971345" y="990599"/>
                </a:lnTo>
                <a:lnTo>
                  <a:pt x="1022264" y="1015999"/>
                </a:lnTo>
                <a:lnTo>
                  <a:pt x="1125877" y="1041399"/>
                </a:lnTo>
                <a:lnTo>
                  <a:pt x="1178537" y="1066799"/>
                </a:lnTo>
                <a:lnTo>
                  <a:pt x="1231742" y="1079499"/>
                </a:lnTo>
                <a:lnTo>
                  <a:pt x="1285476" y="1104899"/>
                </a:lnTo>
                <a:lnTo>
                  <a:pt x="1339722" y="1117599"/>
                </a:lnTo>
                <a:lnTo>
                  <a:pt x="1449681" y="1168399"/>
                </a:lnTo>
                <a:lnTo>
                  <a:pt x="1505359" y="1181099"/>
                </a:lnTo>
                <a:lnTo>
                  <a:pt x="1561481" y="1206499"/>
                </a:lnTo>
                <a:lnTo>
                  <a:pt x="1906565" y="1358899"/>
                </a:lnTo>
                <a:lnTo>
                  <a:pt x="1863871" y="1384299"/>
                </a:lnTo>
                <a:lnTo>
                  <a:pt x="1776351" y="1435099"/>
                </a:lnTo>
                <a:lnTo>
                  <a:pt x="1686232" y="1485899"/>
                </a:lnTo>
                <a:lnTo>
                  <a:pt x="1640289" y="1523999"/>
                </a:lnTo>
                <a:lnTo>
                  <a:pt x="1593806" y="1549399"/>
                </a:lnTo>
                <a:lnTo>
                  <a:pt x="1546819" y="1587499"/>
                </a:lnTo>
                <a:lnTo>
                  <a:pt x="1499365" y="1612899"/>
                </a:lnTo>
                <a:lnTo>
                  <a:pt x="1941315" y="1612899"/>
                </a:lnTo>
                <a:lnTo>
                  <a:pt x="1958981" y="1600199"/>
                </a:lnTo>
                <a:lnTo>
                  <a:pt x="2011318" y="1574799"/>
                </a:lnTo>
                <a:lnTo>
                  <a:pt x="2062946" y="1536699"/>
                </a:lnTo>
                <a:lnTo>
                  <a:pt x="2163888" y="1485899"/>
                </a:lnTo>
                <a:lnTo>
                  <a:pt x="2213108" y="1460499"/>
                </a:lnTo>
                <a:lnTo>
                  <a:pt x="2261430" y="1422399"/>
                </a:lnTo>
                <a:lnTo>
                  <a:pt x="2308808" y="1396999"/>
                </a:lnTo>
                <a:lnTo>
                  <a:pt x="2355195" y="1384299"/>
                </a:lnTo>
                <a:lnTo>
                  <a:pt x="2400544" y="1358899"/>
                </a:lnTo>
                <a:lnTo>
                  <a:pt x="2444808" y="1333499"/>
                </a:lnTo>
                <a:lnTo>
                  <a:pt x="2487939" y="1308099"/>
                </a:lnTo>
                <a:lnTo>
                  <a:pt x="2529890" y="1295399"/>
                </a:lnTo>
                <a:lnTo>
                  <a:pt x="2570615" y="1269999"/>
                </a:lnTo>
                <a:lnTo>
                  <a:pt x="2610067" y="1257299"/>
                </a:lnTo>
                <a:lnTo>
                  <a:pt x="2648197" y="1231899"/>
                </a:lnTo>
                <a:lnTo>
                  <a:pt x="2684960" y="1219199"/>
                </a:lnTo>
                <a:lnTo>
                  <a:pt x="2155853" y="1219199"/>
                </a:lnTo>
                <a:lnTo>
                  <a:pt x="2098396" y="1193799"/>
                </a:lnTo>
                <a:lnTo>
                  <a:pt x="2041207" y="1155699"/>
                </a:lnTo>
                <a:lnTo>
                  <a:pt x="1815442" y="1054099"/>
                </a:lnTo>
                <a:lnTo>
                  <a:pt x="1759822" y="1041399"/>
                </a:lnTo>
                <a:lnTo>
                  <a:pt x="1595163" y="965199"/>
                </a:lnTo>
                <a:lnTo>
                  <a:pt x="1541060" y="952499"/>
                </a:lnTo>
                <a:lnTo>
                  <a:pt x="1434119" y="901699"/>
                </a:lnTo>
                <a:lnTo>
                  <a:pt x="1381309" y="888999"/>
                </a:lnTo>
                <a:lnTo>
                  <a:pt x="1328960" y="863599"/>
                </a:lnTo>
                <a:lnTo>
                  <a:pt x="1225702" y="838199"/>
                </a:lnTo>
                <a:lnTo>
                  <a:pt x="1174823" y="812799"/>
                </a:lnTo>
                <a:lnTo>
                  <a:pt x="1074636" y="787399"/>
                </a:lnTo>
                <a:lnTo>
                  <a:pt x="1025358" y="761999"/>
                </a:lnTo>
                <a:lnTo>
                  <a:pt x="787712" y="698499"/>
                </a:lnTo>
                <a:lnTo>
                  <a:pt x="652649" y="660399"/>
                </a:lnTo>
                <a:lnTo>
                  <a:pt x="608970" y="660399"/>
                </a:lnTo>
                <a:lnTo>
                  <a:pt x="482166" y="622299"/>
                </a:lnTo>
                <a:lnTo>
                  <a:pt x="441358" y="622299"/>
                </a:lnTo>
                <a:lnTo>
                  <a:pt x="362019" y="596899"/>
                </a:lnTo>
                <a:lnTo>
                  <a:pt x="323518" y="596899"/>
                </a:lnTo>
                <a:lnTo>
                  <a:pt x="248926" y="571499"/>
                </a:lnTo>
                <a:lnTo>
                  <a:pt x="212865" y="571499"/>
                </a:lnTo>
                <a:lnTo>
                  <a:pt x="177646" y="558799"/>
                </a:lnTo>
                <a:close/>
              </a:path>
              <a:path w="4890769" h="3124200">
                <a:moveTo>
                  <a:pt x="231479" y="0"/>
                </a:moveTo>
                <a:lnTo>
                  <a:pt x="90384" y="0"/>
                </a:lnTo>
                <a:lnTo>
                  <a:pt x="51996" y="25399"/>
                </a:lnTo>
                <a:lnTo>
                  <a:pt x="25115" y="63499"/>
                </a:lnTo>
                <a:lnTo>
                  <a:pt x="13617" y="114299"/>
                </a:lnTo>
                <a:lnTo>
                  <a:pt x="20460" y="152399"/>
                </a:lnTo>
                <a:lnTo>
                  <a:pt x="43614" y="190499"/>
                </a:lnTo>
                <a:lnTo>
                  <a:pt x="79504" y="215899"/>
                </a:lnTo>
                <a:lnTo>
                  <a:pt x="124552" y="228599"/>
                </a:lnTo>
                <a:lnTo>
                  <a:pt x="147392" y="228599"/>
                </a:lnTo>
                <a:lnTo>
                  <a:pt x="159179" y="241299"/>
                </a:lnTo>
                <a:lnTo>
                  <a:pt x="277621" y="241299"/>
                </a:lnTo>
                <a:lnTo>
                  <a:pt x="304913" y="253999"/>
                </a:lnTo>
                <a:lnTo>
                  <a:pt x="365581" y="253999"/>
                </a:lnTo>
                <a:lnTo>
                  <a:pt x="398872" y="266699"/>
                </a:lnTo>
                <a:lnTo>
                  <a:pt x="434076" y="266699"/>
                </a:lnTo>
                <a:lnTo>
                  <a:pt x="471151" y="279399"/>
                </a:lnTo>
                <a:lnTo>
                  <a:pt x="510053" y="279399"/>
                </a:lnTo>
                <a:lnTo>
                  <a:pt x="550739" y="292099"/>
                </a:lnTo>
                <a:lnTo>
                  <a:pt x="593166" y="292099"/>
                </a:lnTo>
                <a:lnTo>
                  <a:pt x="637291" y="304799"/>
                </a:lnTo>
                <a:lnTo>
                  <a:pt x="683071" y="317499"/>
                </a:lnTo>
                <a:lnTo>
                  <a:pt x="730463" y="317499"/>
                </a:lnTo>
                <a:lnTo>
                  <a:pt x="829909" y="342899"/>
                </a:lnTo>
                <a:lnTo>
                  <a:pt x="990091" y="380999"/>
                </a:lnTo>
                <a:lnTo>
                  <a:pt x="1162452" y="419099"/>
                </a:lnTo>
                <a:lnTo>
                  <a:pt x="1222411" y="444499"/>
                </a:lnTo>
                <a:lnTo>
                  <a:pt x="1283551" y="457199"/>
                </a:lnTo>
                <a:lnTo>
                  <a:pt x="1345828" y="482599"/>
                </a:lnTo>
                <a:lnTo>
                  <a:pt x="1409201" y="495299"/>
                </a:lnTo>
                <a:lnTo>
                  <a:pt x="1473625" y="520699"/>
                </a:lnTo>
                <a:lnTo>
                  <a:pt x="1539058" y="533399"/>
                </a:lnTo>
                <a:lnTo>
                  <a:pt x="1740977" y="609599"/>
                </a:lnTo>
                <a:lnTo>
                  <a:pt x="2021708" y="711199"/>
                </a:lnTo>
                <a:lnTo>
                  <a:pt x="2093659" y="749299"/>
                </a:lnTo>
                <a:lnTo>
                  <a:pt x="2166230" y="774699"/>
                </a:lnTo>
                <a:lnTo>
                  <a:pt x="2239378" y="812799"/>
                </a:lnTo>
                <a:lnTo>
                  <a:pt x="2313061" y="838199"/>
                </a:lnTo>
                <a:lnTo>
                  <a:pt x="2612278" y="990599"/>
                </a:lnTo>
                <a:lnTo>
                  <a:pt x="2573167" y="1003299"/>
                </a:lnTo>
                <a:lnTo>
                  <a:pt x="2532465" y="1028699"/>
                </a:lnTo>
                <a:lnTo>
                  <a:pt x="2490224" y="1054099"/>
                </a:lnTo>
                <a:lnTo>
                  <a:pt x="2446496" y="1066799"/>
                </a:lnTo>
                <a:lnTo>
                  <a:pt x="2401335" y="1092199"/>
                </a:lnTo>
                <a:lnTo>
                  <a:pt x="2354792" y="1117599"/>
                </a:lnTo>
                <a:lnTo>
                  <a:pt x="2306919" y="1142999"/>
                </a:lnTo>
                <a:lnTo>
                  <a:pt x="2257771" y="1168399"/>
                </a:lnTo>
                <a:lnTo>
                  <a:pt x="2207398" y="1193799"/>
                </a:lnTo>
                <a:lnTo>
                  <a:pt x="2155853" y="1219199"/>
                </a:lnTo>
                <a:lnTo>
                  <a:pt x="2684960" y="1219199"/>
                </a:lnTo>
                <a:lnTo>
                  <a:pt x="2720309" y="1206499"/>
                </a:lnTo>
                <a:lnTo>
                  <a:pt x="2754195" y="1181099"/>
                </a:lnTo>
                <a:lnTo>
                  <a:pt x="2786572" y="1168399"/>
                </a:lnTo>
                <a:lnTo>
                  <a:pt x="2817394" y="1155699"/>
                </a:lnTo>
                <a:lnTo>
                  <a:pt x="2846612" y="1142999"/>
                </a:lnTo>
                <a:lnTo>
                  <a:pt x="2874180" y="1130299"/>
                </a:lnTo>
                <a:lnTo>
                  <a:pt x="2900050" y="1117599"/>
                </a:lnTo>
                <a:lnTo>
                  <a:pt x="2924177" y="1117599"/>
                </a:lnTo>
                <a:lnTo>
                  <a:pt x="2946512" y="1104899"/>
                </a:lnTo>
                <a:lnTo>
                  <a:pt x="2967009" y="1092199"/>
                </a:lnTo>
                <a:lnTo>
                  <a:pt x="2985620" y="1092199"/>
                </a:lnTo>
                <a:lnTo>
                  <a:pt x="3002298" y="1079499"/>
                </a:lnTo>
                <a:lnTo>
                  <a:pt x="3016997" y="1079499"/>
                </a:lnTo>
                <a:lnTo>
                  <a:pt x="3029669" y="1066799"/>
                </a:lnTo>
                <a:lnTo>
                  <a:pt x="3055055" y="1066799"/>
                </a:lnTo>
                <a:lnTo>
                  <a:pt x="3060982" y="1054099"/>
                </a:lnTo>
                <a:lnTo>
                  <a:pt x="3061909" y="1054099"/>
                </a:lnTo>
                <a:lnTo>
                  <a:pt x="3146222" y="1028699"/>
                </a:lnTo>
                <a:lnTo>
                  <a:pt x="3386068" y="952499"/>
                </a:lnTo>
                <a:lnTo>
                  <a:pt x="3538950" y="901699"/>
                </a:lnTo>
                <a:lnTo>
                  <a:pt x="3613082" y="876299"/>
                </a:lnTo>
                <a:lnTo>
                  <a:pt x="2888275" y="876299"/>
                </a:lnTo>
                <a:lnTo>
                  <a:pt x="2814223" y="838199"/>
                </a:lnTo>
                <a:lnTo>
                  <a:pt x="2740438" y="787399"/>
                </a:lnTo>
                <a:lnTo>
                  <a:pt x="2666955" y="749299"/>
                </a:lnTo>
                <a:lnTo>
                  <a:pt x="2593810" y="723899"/>
                </a:lnTo>
                <a:lnTo>
                  <a:pt x="2376758" y="609599"/>
                </a:lnTo>
                <a:lnTo>
                  <a:pt x="2305322" y="584199"/>
                </a:lnTo>
                <a:lnTo>
                  <a:pt x="2234402" y="546099"/>
                </a:lnTo>
                <a:lnTo>
                  <a:pt x="2025099" y="469899"/>
                </a:lnTo>
                <a:lnTo>
                  <a:pt x="1956602" y="431799"/>
                </a:lnTo>
                <a:lnTo>
                  <a:pt x="1821731" y="380999"/>
                </a:lnTo>
                <a:lnTo>
                  <a:pt x="1755428" y="368299"/>
                </a:lnTo>
                <a:lnTo>
                  <a:pt x="1561475" y="292099"/>
                </a:lnTo>
                <a:lnTo>
                  <a:pt x="1498596" y="279399"/>
                </a:lnTo>
                <a:lnTo>
                  <a:pt x="1436663" y="253999"/>
                </a:lnTo>
                <a:lnTo>
                  <a:pt x="1315775" y="228599"/>
                </a:lnTo>
                <a:lnTo>
                  <a:pt x="1256892" y="203199"/>
                </a:lnTo>
                <a:lnTo>
                  <a:pt x="1032602" y="152399"/>
                </a:lnTo>
                <a:lnTo>
                  <a:pt x="877189" y="114299"/>
                </a:lnTo>
                <a:lnTo>
                  <a:pt x="780214" y="88899"/>
                </a:lnTo>
                <a:lnTo>
                  <a:pt x="733823" y="76199"/>
                </a:lnTo>
                <a:lnTo>
                  <a:pt x="688878" y="76199"/>
                </a:lnTo>
                <a:lnTo>
                  <a:pt x="645415" y="63499"/>
                </a:lnTo>
                <a:lnTo>
                  <a:pt x="603470" y="63499"/>
                </a:lnTo>
                <a:lnTo>
                  <a:pt x="563077" y="50799"/>
                </a:lnTo>
                <a:lnTo>
                  <a:pt x="524273" y="50799"/>
                </a:lnTo>
                <a:lnTo>
                  <a:pt x="487093" y="38099"/>
                </a:lnTo>
                <a:lnTo>
                  <a:pt x="451574" y="38099"/>
                </a:lnTo>
                <a:lnTo>
                  <a:pt x="417751" y="25399"/>
                </a:lnTo>
                <a:lnTo>
                  <a:pt x="355336" y="25399"/>
                </a:lnTo>
                <a:lnTo>
                  <a:pt x="326815" y="12699"/>
                </a:lnTo>
                <a:lnTo>
                  <a:pt x="252429" y="12699"/>
                </a:lnTo>
                <a:lnTo>
                  <a:pt x="231479" y="0"/>
                </a:lnTo>
                <a:close/>
              </a:path>
              <a:path w="4890769" h="3124200">
                <a:moveTo>
                  <a:pt x="4813769" y="419099"/>
                </a:moveTo>
                <a:lnTo>
                  <a:pt x="4662047" y="419099"/>
                </a:lnTo>
                <a:lnTo>
                  <a:pt x="4635500" y="431799"/>
                </a:lnTo>
                <a:lnTo>
                  <a:pt x="4574150" y="431799"/>
                </a:lnTo>
                <a:lnTo>
                  <a:pt x="4539466" y="444499"/>
                </a:lnTo>
                <a:lnTo>
                  <a:pt x="4462373" y="444499"/>
                </a:lnTo>
                <a:lnTo>
                  <a:pt x="4420083" y="457199"/>
                </a:lnTo>
                <a:lnTo>
                  <a:pt x="4375375" y="457199"/>
                </a:lnTo>
                <a:lnTo>
                  <a:pt x="4328309" y="469899"/>
                </a:lnTo>
                <a:lnTo>
                  <a:pt x="4278943" y="482599"/>
                </a:lnTo>
                <a:lnTo>
                  <a:pt x="4227337" y="495299"/>
                </a:lnTo>
                <a:lnTo>
                  <a:pt x="4173550" y="495299"/>
                </a:lnTo>
                <a:lnTo>
                  <a:pt x="4059666" y="520699"/>
                </a:lnTo>
                <a:lnTo>
                  <a:pt x="3873954" y="558799"/>
                </a:lnTo>
                <a:lnTo>
                  <a:pt x="3808317" y="584199"/>
                </a:lnTo>
                <a:lnTo>
                  <a:pt x="3740910" y="596899"/>
                </a:lnTo>
                <a:lnTo>
                  <a:pt x="3671794" y="622299"/>
                </a:lnTo>
                <a:lnTo>
                  <a:pt x="3601027" y="634999"/>
                </a:lnTo>
                <a:lnTo>
                  <a:pt x="3528669" y="660399"/>
                </a:lnTo>
                <a:lnTo>
                  <a:pt x="3454778" y="673099"/>
                </a:lnTo>
                <a:lnTo>
                  <a:pt x="3379413" y="698499"/>
                </a:lnTo>
                <a:lnTo>
                  <a:pt x="3145066" y="774699"/>
                </a:lnTo>
                <a:lnTo>
                  <a:pt x="3064396" y="812799"/>
                </a:lnTo>
                <a:lnTo>
                  <a:pt x="2982547" y="838199"/>
                </a:lnTo>
                <a:lnTo>
                  <a:pt x="2971937" y="838199"/>
                </a:lnTo>
                <a:lnTo>
                  <a:pt x="2952446" y="850899"/>
                </a:lnTo>
                <a:lnTo>
                  <a:pt x="2924438" y="863599"/>
                </a:lnTo>
                <a:lnTo>
                  <a:pt x="2888275" y="876299"/>
                </a:lnTo>
                <a:lnTo>
                  <a:pt x="3613082" y="876299"/>
                </a:lnTo>
                <a:lnTo>
                  <a:pt x="3685585" y="850899"/>
                </a:lnTo>
                <a:lnTo>
                  <a:pt x="3756391" y="838199"/>
                </a:lnTo>
                <a:lnTo>
                  <a:pt x="3825432" y="812799"/>
                </a:lnTo>
                <a:lnTo>
                  <a:pt x="4021285" y="774699"/>
                </a:lnTo>
                <a:lnTo>
                  <a:pt x="4141783" y="749299"/>
                </a:lnTo>
                <a:lnTo>
                  <a:pt x="4253592" y="723899"/>
                </a:lnTo>
                <a:lnTo>
                  <a:pt x="4306069" y="711199"/>
                </a:lnTo>
                <a:lnTo>
                  <a:pt x="4356169" y="698499"/>
                </a:lnTo>
                <a:lnTo>
                  <a:pt x="4403826" y="698499"/>
                </a:lnTo>
                <a:lnTo>
                  <a:pt x="4448971" y="685799"/>
                </a:lnTo>
                <a:lnTo>
                  <a:pt x="4491536" y="685799"/>
                </a:lnTo>
                <a:lnTo>
                  <a:pt x="4531454" y="673099"/>
                </a:lnTo>
                <a:lnTo>
                  <a:pt x="4603076" y="673099"/>
                </a:lnTo>
                <a:lnTo>
                  <a:pt x="4634645" y="660399"/>
                </a:lnTo>
                <a:lnTo>
                  <a:pt x="4711565" y="660399"/>
                </a:lnTo>
                <a:lnTo>
                  <a:pt x="4731051" y="647699"/>
                </a:lnTo>
                <a:lnTo>
                  <a:pt x="4779267" y="647699"/>
                </a:lnTo>
                <a:lnTo>
                  <a:pt x="4824388" y="634999"/>
                </a:lnTo>
                <a:lnTo>
                  <a:pt x="4860363" y="609599"/>
                </a:lnTo>
                <a:lnTo>
                  <a:pt x="4883612" y="571499"/>
                </a:lnTo>
                <a:lnTo>
                  <a:pt x="4890557" y="520699"/>
                </a:lnTo>
                <a:lnTo>
                  <a:pt x="4879132" y="482599"/>
                </a:lnTo>
                <a:lnTo>
                  <a:pt x="4852244" y="444499"/>
                </a:lnTo>
                <a:lnTo>
                  <a:pt x="4813769" y="41909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FCC74B06-0EC9-48DB-ADCA-6E40A28E02B4}"/>
              </a:ext>
            </a:extLst>
          </p:cNvPr>
          <p:cNvSpPr/>
          <p:nvPr userDrawn="1"/>
        </p:nvSpPr>
        <p:spPr>
          <a:xfrm>
            <a:off x="333375" y="3962209"/>
            <a:ext cx="66675" cy="1061276"/>
          </a:xfrm>
          <a:custGeom>
            <a:avLst/>
            <a:gdLst/>
            <a:ahLst/>
            <a:cxnLst/>
            <a:rect l="l" t="t" r="r" b="b"/>
            <a:pathLst>
              <a:path w="88900" h="1572259">
                <a:moveTo>
                  <a:pt x="44450" y="0"/>
                </a:moveTo>
                <a:lnTo>
                  <a:pt x="27148" y="3901"/>
                </a:lnTo>
                <a:lnTo>
                  <a:pt x="13019" y="13800"/>
                </a:lnTo>
                <a:lnTo>
                  <a:pt x="3493" y="26987"/>
                </a:lnTo>
                <a:lnTo>
                  <a:pt x="0" y="40754"/>
                </a:lnTo>
                <a:lnTo>
                  <a:pt x="0" y="1531480"/>
                </a:lnTo>
                <a:lnTo>
                  <a:pt x="3493" y="1545247"/>
                </a:lnTo>
                <a:lnTo>
                  <a:pt x="13019" y="1558434"/>
                </a:lnTo>
                <a:lnTo>
                  <a:pt x="27148" y="1568333"/>
                </a:lnTo>
                <a:lnTo>
                  <a:pt x="44450" y="1572234"/>
                </a:lnTo>
                <a:lnTo>
                  <a:pt x="61751" y="1568333"/>
                </a:lnTo>
                <a:lnTo>
                  <a:pt x="75880" y="1558434"/>
                </a:lnTo>
                <a:lnTo>
                  <a:pt x="85406" y="1545247"/>
                </a:lnTo>
                <a:lnTo>
                  <a:pt x="88900" y="1531480"/>
                </a:lnTo>
                <a:lnTo>
                  <a:pt x="88900" y="40754"/>
                </a:lnTo>
                <a:lnTo>
                  <a:pt x="85406" y="26987"/>
                </a:lnTo>
                <a:lnTo>
                  <a:pt x="75880" y="13800"/>
                </a:lnTo>
                <a:lnTo>
                  <a:pt x="61751" y="3901"/>
                </a:lnTo>
                <a:lnTo>
                  <a:pt x="444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5" name="Espace réservé du texte 20">
            <a:extLst>
              <a:ext uri="{FF2B5EF4-FFF2-40B4-BE49-F238E27FC236}">
                <a16:creationId xmlns:a16="http://schemas.microsoft.com/office/drawing/2014/main" id="{09C2D6F1-B11D-491D-AAB5-E2C84537B5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741" y="4013645"/>
            <a:ext cx="5047059" cy="934872"/>
          </a:xfrm>
        </p:spPr>
        <p:txBody>
          <a:bodyPr/>
          <a:lstStyle>
            <a:lvl1pPr>
              <a:lnSpc>
                <a:spcPct val="100000"/>
              </a:lnSpc>
              <a:defRPr sz="2025" b="1">
                <a:solidFill>
                  <a:schemeClr val="bg1"/>
                </a:solidFill>
                <a:latin typeface="Montserrat" pitchFamily="2" charset="77"/>
              </a:defRPr>
            </a:lvl1pPr>
            <a:lvl2pPr>
              <a:lnSpc>
                <a:spcPct val="150000"/>
              </a:lnSpc>
              <a:defRPr sz="2025" b="1">
                <a:latin typeface="Montserrat" pitchFamily="2" charset="77"/>
              </a:defRPr>
            </a:lvl2pPr>
            <a:lvl3pPr>
              <a:lnSpc>
                <a:spcPct val="150000"/>
              </a:lnSpc>
              <a:defRPr sz="2025" b="1">
                <a:latin typeface="Montserrat" pitchFamily="2" charset="77"/>
              </a:defRPr>
            </a:lvl3pPr>
            <a:lvl4pPr>
              <a:lnSpc>
                <a:spcPct val="150000"/>
              </a:lnSpc>
              <a:defRPr sz="2025" b="1">
                <a:latin typeface="Montserrat" pitchFamily="2" charset="77"/>
              </a:defRPr>
            </a:lvl4pPr>
            <a:lvl5pPr>
              <a:lnSpc>
                <a:spcPct val="150000"/>
              </a:lnSpc>
              <a:defRPr sz="2025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sur 3 lignes maximum / Typo : Montserrat Bold / Corps : 30 pt</a:t>
            </a:r>
          </a:p>
        </p:txBody>
      </p:sp>
    </p:spTree>
    <p:extLst>
      <p:ext uri="{BB962C8B-B14F-4D97-AF65-F5344CB8AC3E}">
        <p14:creationId xmlns:p14="http://schemas.microsoft.com/office/powerpoint/2010/main" val="316337577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ddd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-42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284031"/>
            <a:ext cx="8343900" cy="830997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5400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CCBE606C-56DA-AD48-8404-73EA16AD17C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0DD32D0-6177-7E44-80E6-1E79AA081E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375" y="224375"/>
            <a:ext cx="1524000" cy="830997"/>
          </a:xfrm>
        </p:spPr>
        <p:txBody>
          <a:bodyPr/>
          <a:lstStyle>
            <a:lvl1pPr>
              <a:defRPr sz="5400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3.</a:t>
            </a: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20F7FAE2-24AA-484B-AC6D-7766FC7B0C83}"/>
              </a:ext>
            </a:extLst>
          </p:cNvPr>
          <p:cNvSpPr/>
          <p:nvPr userDrawn="1"/>
        </p:nvSpPr>
        <p:spPr>
          <a:xfrm>
            <a:off x="8898137" y="1680211"/>
            <a:ext cx="2259806" cy="4172664"/>
          </a:xfrm>
          <a:custGeom>
            <a:avLst/>
            <a:gdLst/>
            <a:ahLst/>
            <a:cxnLst/>
            <a:rect l="l" t="t" r="r" b="b"/>
            <a:pathLst>
              <a:path w="3013075" h="6181725">
                <a:moveTo>
                  <a:pt x="3013024" y="2686393"/>
                </a:moveTo>
                <a:lnTo>
                  <a:pt x="3012021" y="2637726"/>
                </a:lnTo>
                <a:lnTo>
                  <a:pt x="3010039" y="2589098"/>
                </a:lnTo>
                <a:lnTo>
                  <a:pt x="3007042" y="2540546"/>
                </a:lnTo>
                <a:lnTo>
                  <a:pt x="3003054" y="2492057"/>
                </a:lnTo>
                <a:lnTo>
                  <a:pt x="2998063" y="2443645"/>
                </a:lnTo>
                <a:lnTo>
                  <a:pt x="2992069" y="2395283"/>
                </a:lnTo>
                <a:lnTo>
                  <a:pt x="2985084" y="2347010"/>
                </a:lnTo>
                <a:lnTo>
                  <a:pt x="2977083" y="2298801"/>
                </a:lnTo>
                <a:lnTo>
                  <a:pt x="2968091" y="2250668"/>
                </a:lnTo>
                <a:lnTo>
                  <a:pt x="2958096" y="2202611"/>
                </a:lnTo>
                <a:lnTo>
                  <a:pt x="2947098" y="2154644"/>
                </a:lnTo>
                <a:lnTo>
                  <a:pt x="2935998" y="2110638"/>
                </a:lnTo>
                <a:lnTo>
                  <a:pt x="2923844" y="2066721"/>
                </a:lnTo>
                <a:lnTo>
                  <a:pt x="2910649" y="2022906"/>
                </a:lnTo>
                <a:lnTo>
                  <a:pt x="2896412" y="1979193"/>
                </a:lnTo>
                <a:lnTo>
                  <a:pt x="2881134" y="1935581"/>
                </a:lnTo>
                <a:lnTo>
                  <a:pt x="2864815" y="1892084"/>
                </a:lnTo>
                <a:lnTo>
                  <a:pt x="2847467" y="1848688"/>
                </a:lnTo>
                <a:lnTo>
                  <a:pt x="2829077" y="1805406"/>
                </a:lnTo>
                <a:lnTo>
                  <a:pt x="2809659" y="1762239"/>
                </a:lnTo>
                <a:lnTo>
                  <a:pt x="2789199" y="1719186"/>
                </a:lnTo>
                <a:lnTo>
                  <a:pt x="2767711" y="1676247"/>
                </a:lnTo>
                <a:lnTo>
                  <a:pt x="2745194" y="1633435"/>
                </a:lnTo>
                <a:lnTo>
                  <a:pt x="2721648" y="1590738"/>
                </a:lnTo>
                <a:lnTo>
                  <a:pt x="2697073" y="1548168"/>
                </a:lnTo>
                <a:lnTo>
                  <a:pt x="2671483" y="1505724"/>
                </a:lnTo>
                <a:lnTo>
                  <a:pt x="2644864" y="1463408"/>
                </a:lnTo>
                <a:lnTo>
                  <a:pt x="2617216" y="1421231"/>
                </a:lnTo>
                <a:lnTo>
                  <a:pt x="2588552" y="1379181"/>
                </a:lnTo>
                <a:lnTo>
                  <a:pt x="2558859" y="1337271"/>
                </a:lnTo>
                <a:lnTo>
                  <a:pt x="2528163" y="1295488"/>
                </a:lnTo>
                <a:lnTo>
                  <a:pt x="2496439" y="1253858"/>
                </a:lnTo>
                <a:lnTo>
                  <a:pt x="2463711" y="1212367"/>
                </a:lnTo>
                <a:lnTo>
                  <a:pt x="2429967" y="1171028"/>
                </a:lnTo>
                <a:lnTo>
                  <a:pt x="2395207" y="1129830"/>
                </a:lnTo>
                <a:lnTo>
                  <a:pt x="2359431" y="1088783"/>
                </a:lnTo>
                <a:lnTo>
                  <a:pt x="2322652" y="1047889"/>
                </a:lnTo>
                <a:lnTo>
                  <a:pt x="2284869" y="1007148"/>
                </a:lnTo>
                <a:lnTo>
                  <a:pt x="2246071" y="966571"/>
                </a:lnTo>
                <a:lnTo>
                  <a:pt x="2206282" y="926147"/>
                </a:lnTo>
                <a:lnTo>
                  <a:pt x="2165477" y="885875"/>
                </a:lnTo>
                <a:lnTo>
                  <a:pt x="2123681" y="845781"/>
                </a:lnTo>
                <a:lnTo>
                  <a:pt x="2080869" y="805853"/>
                </a:lnTo>
                <a:lnTo>
                  <a:pt x="2031288" y="760907"/>
                </a:lnTo>
                <a:lnTo>
                  <a:pt x="1981733" y="717321"/>
                </a:lnTo>
                <a:lnTo>
                  <a:pt x="1932343" y="675106"/>
                </a:lnTo>
                <a:lnTo>
                  <a:pt x="1883206" y="634250"/>
                </a:lnTo>
                <a:lnTo>
                  <a:pt x="1834451" y="594766"/>
                </a:lnTo>
                <a:lnTo>
                  <a:pt x="1786178" y="556653"/>
                </a:lnTo>
                <a:lnTo>
                  <a:pt x="1738503" y="519925"/>
                </a:lnTo>
                <a:lnTo>
                  <a:pt x="1691538" y="484581"/>
                </a:lnTo>
                <a:lnTo>
                  <a:pt x="1645399" y="450621"/>
                </a:lnTo>
                <a:lnTo>
                  <a:pt x="1600187" y="418058"/>
                </a:lnTo>
                <a:lnTo>
                  <a:pt x="1556016" y="386892"/>
                </a:lnTo>
                <a:lnTo>
                  <a:pt x="1513001" y="357124"/>
                </a:lnTo>
                <a:lnTo>
                  <a:pt x="1471256" y="328777"/>
                </a:lnTo>
                <a:lnTo>
                  <a:pt x="1430870" y="301828"/>
                </a:lnTo>
                <a:lnTo>
                  <a:pt x="1391983" y="276301"/>
                </a:lnTo>
                <a:lnTo>
                  <a:pt x="1354696" y="252183"/>
                </a:lnTo>
                <a:lnTo>
                  <a:pt x="1319123" y="229501"/>
                </a:lnTo>
                <a:lnTo>
                  <a:pt x="1253540" y="188429"/>
                </a:lnTo>
                <a:lnTo>
                  <a:pt x="1144574" y="121615"/>
                </a:lnTo>
                <a:lnTo>
                  <a:pt x="1095578" y="92138"/>
                </a:lnTo>
                <a:lnTo>
                  <a:pt x="1058481" y="70650"/>
                </a:lnTo>
                <a:lnTo>
                  <a:pt x="969162" y="22466"/>
                </a:lnTo>
                <a:lnTo>
                  <a:pt x="924902" y="5549"/>
                </a:lnTo>
                <a:lnTo>
                  <a:pt x="879208" y="0"/>
                </a:lnTo>
                <a:lnTo>
                  <a:pt x="834047" y="5334"/>
                </a:lnTo>
                <a:lnTo>
                  <a:pt x="791387" y="21094"/>
                </a:lnTo>
                <a:lnTo>
                  <a:pt x="753211" y="46786"/>
                </a:lnTo>
                <a:lnTo>
                  <a:pt x="721461" y="81940"/>
                </a:lnTo>
                <a:lnTo>
                  <a:pt x="687793" y="129730"/>
                </a:lnTo>
                <a:lnTo>
                  <a:pt x="657593" y="174320"/>
                </a:lnTo>
                <a:lnTo>
                  <a:pt x="626846" y="222250"/>
                </a:lnTo>
                <a:lnTo>
                  <a:pt x="601294" y="263563"/>
                </a:lnTo>
                <a:lnTo>
                  <a:pt x="572236" y="312026"/>
                </a:lnTo>
                <a:lnTo>
                  <a:pt x="540181" y="367372"/>
                </a:lnTo>
                <a:lnTo>
                  <a:pt x="505599" y="429285"/>
                </a:lnTo>
                <a:lnTo>
                  <a:pt x="468972" y="497497"/>
                </a:lnTo>
                <a:lnTo>
                  <a:pt x="450049" y="533882"/>
                </a:lnTo>
                <a:lnTo>
                  <a:pt x="430796" y="571715"/>
                </a:lnTo>
                <a:lnTo>
                  <a:pt x="411264" y="610997"/>
                </a:lnTo>
                <a:lnTo>
                  <a:pt x="391541" y="651662"/>
                </a:lnTo>
                <a:lnTo>
                  <a:pt x="371652" y="693686"/>
                </a:lnTo>
                <a:lnTo>
                  <a:pt x="351688" y="737031"/>
                </a:lnTo>
                <a:lnTo>
                  <a:pt x="331698" y="781659"/>
                </a:lnTo>
                <a:lnTo>
                  <a:pt x="311746" y="827544"/>
                </a:lnTo>
                <a:lnTo>
                  <a:pt x="291884" y="874636"/>
                </a:lnTo>
                <a:lnTo>
                  <a:pt x="272173" y="922909"/>
                </a:lnTo>
                <a:lnTo>
                  <a:pt x="252679" y="972324"/>
                </a:lnTo>
                <a:lnTo>
                  <a:pt x="233451" y="1022845"/>
                </a:lnTo>
                <a:lnTo>
                  <a:pt x="214579" y="1074445"/>
                </a:lnTo>
                <a:lnTo>
                  <a:pt x="196088" y="1127074"/>
                </a:lnTo>
                <a:lnTo>
                  <a:pt x="178054" y="1180693"/>
                </a:lnTo>
                <a:lnTo>
                  <a:pt x="160540" y="1235290"/>
                </a:lnTo>
                <a:lnTo>
                  <a:pt x="143611" y="1290802"/>
                </a:lnTo>
                <a:lnTo>
                  <a:pt x="127317" y="1347203"/>
                </a:lnTo>
                <a:lnTo>
                  <a:pt x="111709" y="1404467"/>
                </a:lnTo>
                <a:lnTo>
                  <a:pt x="96875" y="1462544"/>
                </a:lnTo>
                <a:lnTo>
                  <a:pt x="82854" y="1521409"/>
                </a:lnTo>
                <a:lnTo>
                  <a:pt x="69710" y="1581023"/>
                </a:lnTo>
                <a:lnTo>
                  <a:pt x="57518" y="1641348"/>
                </a:lnTo>
                <a:lnTo>
                  <a:pt x="46316" y="1702346"/>
                </a:lnTo>
                <a:lnTo>
                  <a:pt x="36182" y="1763979"/>
                </a:lnTo>
                <a:lnTo>
                  <a:pt x="27165" y="1826209"/>
                </a:lnTo>
                <a:lnTo>
                  <a:pt x="19329" y="1889023"/>
                </a:lnTo>
                <a:lnTo>
                  <a:pt x="12738" y="1952358"/>
                </a:lnTo>
                <a:lnTo>
                  <a:pt x="7442" y="2016188"/>
                </a:lnTo>
                <a:lnTo>
                  <a:pt x="3517" y="2080488"/>
                </a:lnTo>
                <a:lnTo>
                  <a:pt x="1016" y="2145207"/>
                </a:lnTo>
                <a:lnTo>
                  <a:pt x="0" y="2210308"/>
                </a:lnTo>
                <a:lnTo>
                  <a:pt x="533" y="2275763"/>
                </a:lnTo>
                <a:lnTo>
                  <a:pt x="2654" y="2341537"/>
                </a:lnTo>
                <a:lnTo>
                  <a:pt x="6451" y="2407589"/>
                </a:lnTo>
                <a:lnTo>
                  <a:pt x="11976" y="2473883"/>
                </a:lnTo>
                <a:lnTo>
                  <a:pt x="19291" y="2540381"/>
                </a:lnTo>
                <a:lnTo>
                  <a:pt x="28448" y="2607056"/>
                </a:lnTo>
                <a:lnTo>
                  <a:pt x="39509" y="2673870"/>
                </a:lnTo>
                <a:lnTo>
                  <a:pt x="52539" y="2740787"/>
                </a:lnTo>
                <a:lnTo>
                  <a:pt x="67589" y="2807766"/>
                </a:lnTo>
                <a:lnTo>
                  <a:pt x="78308" y="2849753"/>
                </a:lnTo>
                <a:lnTo>
                  <a:pt x="90258" y="2891548"/>
                </a:lnTo>
                <a:lnTo>
                  <a:pt x="103428" y="2933166"/>
                </a:lnTo>
                <a:lnTo>
                  <a:pt x="117817" y="2974594"/>
                </a:lnTo>
                <a:lnTo>
                  <a:pt x="133426" y="3015818"/>
                </a:lnTo>
                <a:lnTo>
                  <a:pt x="150253" y="3056864"/>
                </a:lnTo>
                <a:lnTo>
                  <a:pt x="168287" y="3097707"/>
                </a:lnTo>
                <a:lnTo>
                  <a:pt x="187553" y="3138360"/>
                </a:lnTo>
                <a:lnTo>
                  <a:pt x="208026" y="3178822"/>
                </a:lnTo>
                <a:lnTo>
                  <a:pt x="229717" y="3219069"/>
                </a:lnTo>
                <a:lnTo>
                  <a:pt x="252615" y="3259124"/>
                </a:lnTo>
                <a:lnTo>
                  <a:pt x="276720" y="3298964"/>
                </a:lnTo>
                <a:lnTo>
                  <a:pt x="302031" y="3338601"/>
                </a:lnTo>
                <a:lnTo>
                  <a:pt x="328561" y="3378035"/>
                </a:lnTo>
                <a:lnTo>
                  <a:pt x="356285" y="3417252"/>
                </a:lnTo>
                <a:lnTo>
                  <a:pt x="385216" y="3456267"/>
                </a:lnTo>
                <a:lnTo>
                  <a:pt x="415340" y="3495052"/>
                </a:lnTo>
                <a:lnTo>
                  <a:pt x="446671" y="3533635"/>
                </a:lnTo>
                <a:lnTo>
                  <a:pt x="479209" y="3571989"/>
                </a:lnTo>
                <a:lnTo>
                  <a:pt x="512940" y="3610140"/>
                </a:lnTo>
                <a:lnTo>
                  <a:pt x="547852" y="3648049"/>
                </a:lnTo>
                <a:lnTo>
                  <a:pt x="583971" y="3685743"/>
                </a:lnTo>
                <a:lnTo>
                  <a:pt x="621284" y="3723208"/>
                </a:lnTo>
                <a:lnTo>
                  <a:pt x="659790" y="3760444"/>
                </a:lnTo>
                <a:lnTo>
                  <a:pt x="699477" y="3797452"/>
                </a:lnTo>
                <a:lnTo>
                  <a:pt x="740359" y="3834231"/>
                </a:lnTo>
                <a:lnTo>
                  <a:pt x="782421" y="3870769"/>
                </a:lnTo>
                <a:lnTo>
                  <a:pt x="825665" y="3907066"/>
                </a:lnTo>
                <a:lnTo>
                  <a:pt x="870102" y="3943134"/>
                </a:lnTo>
                <a:lnTo>
                  <a:pt x="915708" y="3978960"/>
                </a:lnTo>
                <a:lnTo>
                  <a:pt x="962507" y="4014546"/>
                </a:lnTo>
                <a:lnTo>
                  <a:pt x="1010475" y="4049890"/>
                </a:lnTo>
                <a:lnTo>
                  <a:pt x="1059624" y="4084980"/>
                </a:lnTo>
                <a:lnTo>
                  <a:pt x="1125232" y="4130167"/>
                </a:lnTo>
                <a:lnTo>
                  <a:pt x="1189888" y="4172928"/>
                </a:lnTo>
                <a:lnTo>
                  <a:pt x="1253274" y="4213276"/>
                </a:lnTo>
                <a:lnTo>
                  <a:pt x="1315072" y="4251185"/>
                </a:lnTo>
                <a:lnTo>
                  <a:pt x="1374952" y="4286643"/>
                </a:lnTo>
                <a:lnTo>
                  <a:pt x="1432585" y="4319638"/>
                </a:lnTo>
                <a:lnTo>
                  <a:pt x="1487665" y="4350143"/>
                </a:lnTo>
                <a:lnTo>
                  <a:pt x="1539875" y="4378172"/>
                </a:lnTo>
                <a:lnTo>
                  <a:pt x="1588871" y="4403687"/>
                </a:lnTo>
                <a:lnTo>
                  <a:pt x="1634350" y="4426674"/>
                </a:lnTo>
                <a:lnTo>
                  <a:pt x="1675980" y="4447133"/>
                </a:lnTo>
                <a:lnTo>
                  <a:pt x="1700784" y="4459008"/>
                </a:lnTo>
                <a:lnTo>
                  <a:pt x="1688655" y="4497108"/>
                </a:lnTo>
                <a:lnTo>
                  <a:pt x="1672577" y="4543755"/>
                </a:lnTo>
                <a:lnTo>
                  <a:pt x="1655406" y="4589932"/>
                </a:lnTo>
                <a:lnTo>
                  <a:pt x="1637169" y="4635639"/>
                </a:lnTo>
                <a:lnTo>
                  <a:pt x="1617853" y="4680864"/>
                </a:lnTo>
                <a:lnTo>
                  <a:pt x="1597482" y="4725594"/>
                </a:lnTo>
                <a:lnTo>
                  <a:pt x="1576057" y="4769802"/>
                </a:lnTo>
                <a:lnTo>
                  <a:pt x="1553578" y="4813478"/>
                </a:lnTo>
                <a:lnTo>
                  <a:pt x="1530057" y="4856607"/>
                </a:lnTo>
                <a:lnTo>
                  <a:pt x="1505521" y="4899177"/>
                </a:lnTo>
                <a:lnTo>
                  <a:pt x="1479943" y="4941176"/>
                </a:lnTo>
                <a:lnTo>
                  <a:pt x="1453362" y="4982565"/>
                </a:lnTo>
                <a:lnTo>
                  <a:pt x="1425778" y="5023358"/>
                </a:lnTo>
                <a:lnTo>
                  <a:pt x="1397190" y="5063515"/>
                </a:lnTo>
                <a:lnTo>
                  <a:pt x="1367612" y="5103038"/>
                </a:lnTo>
                <a:lnTo>
                  <a:pt x="1337056" y="5141912"/>
                </a:lnTo>
                <a:lnTo>
                  <a:pt x="1305509" y="5180114"/>
                </a:lnTo>
                <a:lnTo>
                  <a:pt x="1273009" y="5217617"/>
                </a:lnTo>
                <a:lnTo>
                  <a:pt x="1239545" y="5254434"/>
                </a:lnTo>
                <a:lnTo>
                  <a:pt x="1205141" y="5290515"/>
                </a:lnTo>
                <a:lnTo>
                  <a:pt x="1169784" y="5325884"/>
                </a:lnTo>
                <a:lnTo>
                  <a:pt x="1133487" y="5360492"/>
                </a:lnTo>
                <a:lnTo>
                  <a:pt x="1096276" y="5394337"/>
                </a:lnTo>
                <a:lnTo>
                  <a:pt x="1058138" y="5427408"/>
                </a:lnTo>
                <a:lnTo>
                  <a:pt x="1018070" y="5460504"/>
                </a:lnTo>
                <a:lnTo>
                  <a:pt x="977341" y="5492521"/>
                </a:lnTo>
                <a:lnTo>
                  <a:pt x="935939" y="5523446"/>
                </a:lnTo>
                <a:lnTo>
                  <a:pt x="893914" y="5553265"/>
                </a:lnTo>
                <a:lnTo>
                  <a:pt x="851242" y="5581993"/>
                </a:lnTo>
                <a:lnTo>
                  <a:pt x="807961" y="5609602"/>
                </a:lnTo>
                <a:lnTo>
                  <a:pt x="764070" y="5636107"/>
                </a:lnTo>
                <a:lnTo>
                  <a:pt x="719569" y="5661482"/>
                </a:lnTo>
                <a:lnTo>
                  <a:pt x="674484" y="5685726"/>
                </a:lnTo>
                <a:lnTo>
                  <a:pt x="628827" y="5708840"/>
                </a:lnTo>
                <a:lnTo>
                  <a:pt x="582599" y="5730811"/>
                </a:lnTo>
                <a:lnTo>
                  <a:pt x="535825" y="5751639"/>
                </a:lnTo>
                <a:lnTo>
                  <a:pt x="488505" y="5771312"/>
                </a:lnTo>
                <a:lnTo>
                  <a:pt x="440651" y="5789815"/>
                </a:lnTo>
                <a:lnTo>
                  <a:pt x="392277" y="5807164"/>
                </a:lnTo>
                <a:lnTo>
                  <a:pt x="352221" y="5826341"/>
                </a:lnTo>
                <a:lnTo>
                  <a:pt x="318655" y="5853227"/>
                </a:lnTo>
                <a:lnTo>
                  <a:pt x="292277" y="5886335"/>
                </a:lnTo>
                <a:lnTo>
                  <a:pt x="273824" y="5924220"/>
                </a:lnTo>
                <a:lnTo>
                  <a:pt x="263994" y="5965393"/>
                </a:lnTo>
                <a:lnTo>
                  <a:pt x="263499" y="6008395"/>
                </a:lnTo>
                <a:lnTo>
                  <a:pt x="273075" y="6051766"/>
                </a:lnTo>
                <a:lnTo>
                  <a:pt x="294881" y="6095860"/>
                </a:lnTo>
                <a:lnTo>
                  <a:pt x="325970" y="6131877"/>
                </a:lnTo>
                <a:lnTo>
                  <a:pt x="364363" y="6158801"/>
                </a:lnTo>
                <a:lnTo>
                  <a:pt x="408025" y="6175692"/>
                </a:lnTo>
                <a:lnTo>
                  <a:pt x="454964" y="6181534"/>
                </a:lnTo>
                <a:lnTo>
                  <a:pt x="470611" y="6180887"/>
                </a:lnTo>
                <a:lnTo>
                  <a:pt x="517664" y="6170981"/>
                </a:lnTo>
                <a:lnTo>
                  <a:pt x="565518" y="6153937"/>
                </a:lnTo>
                <a:lnTo>
                  <a:pt x="612940" y="6135929"/>
                </a:lnTo>
                <a:lnTo>
                  <a:pt x="659930" y="6116967"/>
                </a:lnTo>
                <a:lnTo>
                  <a:pt x="706462" y="6097067"/>
                </a:lnTo>
                <a:lnTo>
                  <a:pt x="752538" y="6076213"/>
                </a:lnTo>
                <a:lnTo>
                  <a:pt x="798156" y="6054420"/>
                </a:lnTo>
                <a:lnTo>
                  <a:pt x="843305" y="6031687"/>
                </a:lnTo>
                <a:lnTo>
                  <a:pt x="887984" y="6008027"/>
                </a:lnTo>
                <a:lnTo>
                  <a:pt x="932167" y="5983440"/>
                </a:lnTo>
                <a:lnTo>
                  <a:pt x="975868" y="5957925"/>
                </a:lnTo>
                <a:lnTo>
                  <a:pt x="1019060" y="5931497"/>
                </a:lnTo>
                <a:lnTo>
                  <a:pt x="1061745" y="5904141"/>
                </a:lnTo>
                <a:lnTo>
                  <a:pt x="1103922" y="5875883"/>
                </a:lnTo>
                <a:lnTo>
                  <a:pt x="1145565" y="5846724"/>
                </a:lnTo>
                <a:lnTo>
                  <a:pt x="1186688" y="5816663"/>
                </a:lnTo>
                <a:lnTo>
                  <a:pt x="1227264" y="5785701"/>
                </a:lnTo>
                <a:lnTo>
                  <a:pt x="1267294" y="5753836"/>
                </a:lnTo>
                <a:lnTo>
                  <a:pt x="1306779" y="5721096"/>
                </a:lnTo>
                <a:lnTo>
                  <a:pt x="1345082" y="5688000"/>
                </a:lnTo>
                <a:lnTo>
                  <a:pt x="1382610" y="5654256"/>
                </a:lnTo>
                <a:lnTo>
                  <a:pt x="1419352" y="5619851"/>
                </a:lnTo>
                <a:lnTo>
                  <a:pt x="1455293" y="5584799"/>
                </a:lnTo>
                <a:lnTo>
                  <a:pt x="1490446" y="5549125"/>
                </a:lnTo>
                <a:lnTo>
                  <a:pt x="1524800" y="5512841"/>
                </a:lnTo>
                <a:lnTo>
                  <a:pt x="1558353" y="5475935"/>
                </a:lnTo>
                <a:lnTo>
                  <a:pt x="1591081" y="5438445"/>
                </a:lnTo>
                <a:lnTo>
                  <a:pt x="1622996" y="5400357"/>
                </a:lnTo>
                <a:lnTo>
                  <a:pt x="1654086" y="5361711"/>
                </a:lnTo>
                <a:lnTo>
                  <a:pt x="1684350" y="5322494"/>
                </a:lnTo>
                <a:lnTo>
                  <a:pt x="1713776" y="5282717"/>
                </a:lnTo>
                <a:lnTo>
                  <a:pt x="1742351" y="5242407"/>
                </a:lnTo>
                <a:lnTo>
                  <a:pt x="1770087" y="5201577"/>
                </a:lnTo>
                <a:lnTo>
                  <a:pt x="1796973" y="5160213"/>
                </a:lnTo>
                <a:lnTo>
                  <a:pt x="1822996" y="5118354"/>
                </a:lnTo>
                <a:lnTo>
                  <a:pt x="1848154" y="5075987"/>
                </a:lnTo>
                <a:lnTo>
                  <a:pt x="1872449" y="5033137"/>
                </a:lnTo>
                <a:lnTo>
                  <a:pt x="1895856" y="4989817"/>
                </a:lnTo>
                <a:lnTo>
                  <a:pt x="1918385" y="4946040"/>
                </a:lnTo>
                <a:lnTo>
                  <a:pt x="1940039" y="4901806"/>
                </a:lnTo>
                <a:lnTo>
                  <a:pt x="1960791" y="4857127"/>
                </a:lnTo>
                <a:lnTo>
                  <a:pt x="1980641" y="4812030"/>
                </a:lnTo>
                <a:lnTo>
                  <a:pt x="1999589" y="4766500"/>
                </a:lnTo>
                <a:lnTo>
                  <a:pt x="2017623" y="4720577"/>
                </a:lnTo>
                <a:lnTo>
                  <a:pt x="2034755" y="4674247"/>
                </a:lnTo>
                <a:lnTo>
                  <a:pt x="2050948" y="4627537"/>
                </a:lnTo>
                <a:lnTo>
                  <a:pt x="2066226" y="4580458"/>
                </a:lnTo>
                <a:lnTo>
                  <a:pt x="2080564" y="4533011"/>
                </a:lnTo>
                <a:lnTo>
                  <a:pt x="2093976" y="4485208"/>
                </a:lnTo>
                <a:lnTo>
                  <a:pt x="2106434" y="4437062"/>
                </a:lnTo>
                <a:lnTo>
                  <a:pt x="2117941" y="4388599"/>
                </a:lnTo>
                <a:lnTo>
                  <a:pt x="2128494" y="4339818"/>
                </a:lnTo>
                <a:lnTo>
                  <a:pt x="2138083" y="4290720"/>
                </a:lnTo>
                <a:lnTo>
                  <a:pt x="2146706" y="4241330"/>
                </a:lnTo>
                <a:lnTo>
                  <a:pt x="2154351" y="4191660"/>
                </a:lnTo>
                <a:lnTo>
                  <a:pt x="2161019" y="4141711"/>
                </a:lnTo>
                <a:lnTo>
                  <a:pt x="2166709" y="4091495"/>
                </a:lnTo>
                <a:lnTo>
                  <a:pt x="2171408" y="4041038"/>
                </a:lnTo>
                <a:lnTo>
                  <a:pt x="2175103" y="3990479"/>
                </a:lnTo>
                <a:lnTo>
                  <a:pt x="2177770" y="3940010"/>
                </a:lnTo>
                <a:lnTo>
                  <a:pt x="2179434" y="3889641"/>
                </a:lnTo>
                <a:lnTo>
                  <a:pt x="2180082" y="3839375"/>
                </a:lnTo>
                <a:lnTo>
                  <a:pt x="2179713" y="3789222"/>
                </a:lnTo>
                <a:lnTo>
                  <a:pt x="2178354" y="3739223"/>
                </a:lnTo>
                <a:lnTo>
                  <a:pt x="2175992" y="3689350"/>
                </a:lnTo>
                <a:lnTo>
                  <a:pt x="2172639" y="3639642"/>
                </a:lnTo>
                <a:lnTo>
                  <a:pt x="2168296" y="3590099"/>
                </a:lnTo>
                <a:lnTo>
                  <a:pt x="2162962" y="3540747"/>
                </a:lnTo>
                <a:lnTo>
                  <a:pt x="2156650" y="3491573"/>
                </a:lnTo>
                <a:lnTo>
                  <a:pt x="2149348" y="3442614"/>
                </a:lnTo>
                <a:lnTo>
                  <a:pt x="2141080" y="3393859"/>
                </a:lnTo>
                <a:lnTo>
                  <a:pt x="2131834" y="3345345"/>
                </a:lnTo>
                <a:lnTo>
                  <a:pt x="2121624" y="3297059"/>
                </a:lnTo>
                <a:lnTo>
                  <a:pt x="2110448" y="3249041"/>
                </a:lnTo>
                <a:lnTo>
                  <a:pt x="2098306" y="3201276"/>
                </a:lnTo>
                <a:lnTo>
                  <a:pt x="2085213" y="3153791"/>
                </a:lnTo>
                <a:lnTo>
                  <a:pt x="2071166" y="3106585"/>
                </a:lnTo>
                <a:lnTo>
                  <a:pt x="2056168" y="3059684"/>
                </a:lnTo>
                <a:lnTo>
                  <a:pt x="2040229" y="3013087"/>
                </a:lnTo>
                <a:lnTo>
                  <a:pt x="2023351" y="2966821"/>
                </a:lnTo>
                <a:lnTo>
                  <a:pt x="2005520" y="2920898"/>
                </a:lnTo>
                <a:lnTo>
                  <a:pt x="1986775" y="2875318"/>
                </a:lnTo>
                <a:lnTo>
                  <a:pt x="1967090" y="2830093"/>
                </a:lnTo>
                <a:lnTo>
                  <a:pt x="1946478" y="2785237"/>
                </a:lnTo>
                <a:lnTo>
                  <a:pt x="1924939" y="2740761"/>
                </a:lnTo>
                <a:lnTo>
                  <a:pt x="1902485" y="2696680"/>
                </a:lnTo>
                <a:lnTo>
                  <a:pt x="1879117" y="2653017"/>
                </a:lnTo>
                <a:lnTo>
                  <a:pt x="1854835" y="2609761"/>
                </a:lnTo>
                <a:lnTo>
                  <a:pt x="1829650" y="2566949"/>
                </a:lnTo>
                <a:lnTo>
                  <a:pt x="1803565" y="2524569"/>
                </a:lnTo>
                <a:lnTo>
                  <a:pt x="1776577" y="2482646"/>
                </a:lnTo>
                <a:lnTo>
                  <a:pt x="1748688" y="2441181"/>
                </a:lnTo>
                <a:lnTo>
                  <a:pt x="1719910" y="2400198"/>
                </a:lnTo>
                <a:lnTo>
                  <a:pt x="1690243" y="2359710"/>
                </a:lnTo>
                <a:lnTo>
                  <a:pt x="1659699" y="2319731"/>
                </a:lnTo>
                <a:lnTo>
                  <a:pt x="1628267" y="2280247"/>
                </a:lnTo>
                <a:lnTo>
                  <a:pt x="1595958" y="2241308"/>
                </a:lnTo>
                <a:lnTo>
                  <a:pt x="1563573" y="2210917"/>
                </a:lnTo>
                <a:lnTo>
                  <a:pt x="1526362" y="2189353"/>
                </a:lnTo>
                <a:lnTo>
                  <a:pt x="1485950" y="2176767"/>
                </a:lnTo>
                <a:lnTo>
                  <a:pt x="1443951" y="2173274"/>
                </a:lnTo>
                <a:lnTo>
                  <a:pt x="1402003" y="2179015"/>
                </a:lnTo>
                <a:lnTo>
                  <a:pt x="1361744" y="2194141"/>
                </a:lnTo>
                <a:lnTo>
                  <a:pt x="1324775" y="2218779"/>
                </a:lnTo>
                <a:lnTo>
                  <a:pt x="1294396" y="2251164"/>
                </a:lnTo>
                <a:lnTo>
                  <a:pt x="1272844" y="2288375"/>
                </a:lnTo>
                <a:lnTo>
                  <a:pt x="1260246" y="2328786"/>
                </a:lnTo>
                <a:lnTo>
                  <a:pt x="1256766" y="2370785"/>
                </a:lnTo>
                <a:lnTo>
                  <a:pt x="1262507" y="2412733"/>
                </a:lnTo>
                <a:lnTo>
                  <a:pt x="1277620" y="2452992"/>
                </a:lnTo>
                <a:lnTo>
                  <a:pt x="1302245" y="2489949"/>
                </a:lnTo>
                <a:lnTo>
                  <a:pt x="1334389" y="2528836"/>
                </a:lnTo>
                <a:lnTo>
                  <a:pt x="1365504" y="2568359"/>
                </a:lnTo>
                <a:lnTo>
                  <a:pt x="1395577" y="2608478"/>
                </a:lnTo>
                <a:lnTo>
                  <a:pt x="1424609" y="2649169"/>
                </a:lnTo>
                <a:lnTo>
                  <a:pt x="1452587" y="2690444"/>
                </a:lnTo>
                <a:lnTo>
                  <a:pt x="1479499" y="2732265"/>
                </a:lnTo>
                <a:lnTo>
                  <a:pt x="1505369" y="2774619"/>
                </a:lnTo>
                <a:lnTo>
                  <a:pt x="1530159" y="2817495"/>
                </a:lnTo>
                <a:lnTo>
                  <a:pt x="1553883" y="2860865"/>
                </a:lnTo>
                <a:lnTo>
                  <a:pt x="1576527" y="2904731"/>
                </a:lnTo>
                <a:lnTo>
                  <a:pt x="1598091" y="2949054"/>
                </a:lnTo>
                <a:lnTo>
                  <a:pt x="1618564" y="2993834"/>
                </a:lnTo>
                <a:lnTo>
                  <a:pt x="1637944" y="3039046"/>
                </a:lnTo>
                <a:lnTo>
                  <a:pt x="1656232" y="3084690"/>
                </a:lnTo>
                <a:lnTo>
                  <a:pt x="1673415" y="3130715"/>
                </a:lnTo>
                <a:lnTo>
                  <a:pt x="1689481" y="3177146"/>
                </a:lnTo>
                <a:lnTo>
                  <a:pt x="1704441" y="3223933"/>
                </a:lnTo>
                <a:lnTo>
                  <a:pt x="1718284" y="3271075"/>
                </a:lnTo>
                <a:lnTo>
                  <a:pt x="1730997" y="3318548"/>
                </a:lnTo>
                <a:lnTo>
                  <a:pt x="1742579" y="3366351"/>
                </a:lnTo>
                <a:lnTo>
                  <a:pt x="1753031" y="3414445"/>
                </a:lnTo>
                <a:lnTo>
                  <a:pt x="1762340" y="3462832"/>
                </a:lnTo>
                <a:lnTo>
                  <a:pt x="1770507" y="3511486"/>
                </a:lnTo>
                <a:lnTo>
                  <a:pt x="1777517" y="3560394"/>
                </a:lnTo>
                <a:lnTo>
                  <a:pt x="1783372" y="3609543"/>
                </a:lnTo>
                <a:lnTo>
                  <a:pt x="1788058" y="3658908"/>
                </a:lnTo>
                <a:lnTo>
                  <a:pt x="1791589" y="3708476"/>
                </a:lnTo>
                <a:lnTo>
                  <a:pt x="1793938" y="3758222"/>
                </a:lnTo>
                <a:lnTo>
                  <a:pt x="1795119" y="3808145"/>
                </a:lnTo>
                <a:lnTo>
                  <a:pt x="1795106" y="3858222"/>
                </a:lnTo>
                <a:lnTo>
                  <a:pt x="1793913" y="3908425"/>
                </a:lnTo>
                <a:lnTo>
                  <a:pt x="1791525" y="3958767"/>
                </a:lnTo>
                <a:lnTo>
                  <a:pt x="1787931" y="4009199"/>
                </a:lnTo>
                <a:lnTo>
                  <a:pt x="1783156" y="4059517"/>
                </a:lnTo>
                <a:lnTo>
                  <a:pt x="1781911" y="4069994"/>
                </a:lnTo>
                <a:lnTo>
                  <a:pt x="1763331" y="4060596"/>
                </a:lnTo>
                <a:lnTo>
                  <a:pt x="1713039" y="4034345"/>
                </a:lnTo>
                <a:lnTo>
                  <a:pt x="1659001" y="4005161"/>
                </a:lnTo>
                <a:lnTo>
                  <a:pt x="1601660" y="3973080"/>
                </a:lnTo>
                <a:lnTo>
                  <a:pt x="1541462" y="3938130"/>
                </a:lnTo>
                <a:lnTo>
                  <a:pt x="1478851" y="3900347"/>
                </a:lnTo>
                <a:lnTo>
                  <a:pt x="1414259" y="3859733"/>
                </a:lnTo>
                <a:lnTo>
                  <a:pt x="1348155" y="3816337"/>
                </a:lnTo>
                <a:lnTo>
                  <a:pt x="1280947" y="3770185"/>
                </a:lnTo>
                <a:lnTo>
                  <a:pt x="1219936" y="3726332"/>
                </a:lnTo>
                <a:lnTo>
                  <a:pt x="1161834" y="3682695"/>
                </a:lnTo>
                <a:lnTo>
                  <a:pt x="1106551" y="3639261"/>
                </a:lnTo>
                <a:lnTo>
                  <a:pt x="1054036" y="3596106"/>
                </a:lnTo>
                <a:lnTo>
                  <a:pt x="1004214" y="3553231"/>
                </a:lnTo>
                <a:lnTo>
                  <a:pt x="957008" y="3510673"/>
                </a:lnTo>
                <a:lnTo>
                  <a:pt x="912368" y="3468459"/>
                </a:lnTo>
                <a:lnTo>
                  <a:pt x="870204" y="3426637"/>
                </a:lnTo>
                <a:lnTo>
                  <a:pt x="830453" y="3385223"/>
                </a:lnTo>
                <a:lnTo>
                  <a:pt x="793051" y="3344253"/>
                </a:lnTo>
                <a:lnTo>
                  <a:pt x="757923" y="3303765"/>
                </a:lnTo>
                <a:lnTo>
                  <a:pt x="725004" y="3263773"/>
                </a:lnTo>
                <a:lnTo>
                  <a:pt x="694220" y="3224314"/>
                </a:lnTo>
                <a:lnTo>
                  <a:pt x="665505" y="3185426"/>
                </a:lnTo>
                <a:lnTo>
                  <a:pt x="638797" y="3147136"/>
                </a:lnTo>
                <a:lnTo>
                  <a:pt x="614006" y="3109480"/>
                </a:lnTo>
                <a:lnTo>
                  <a:pt x="591083" y="3072485"/>
                </a:lnTo>
                <a:lnTo>
                  <a:pt x="569950" y="3036176"/>
                </a:lnTo>
                <a:lnTo>
                  <a:pt x="550532" y="3000591"/>
                </a:lnTo>
                <a:lnTo>
                  <a:pt x="532765" y="2965754"/>
                </a:lnTo>
                <a:lnTo>
                  <a:pt x="501916" y="2898470"/>
                </a:lnTo>
                <a:lnTo>
                  <a:pt x="476834" y="2834563"/>
                </a:lnTo>
                <a:lnTo>
                  <a:pt x="456971" y="2774289"/>
                </a:lnTo>
                <a:lnTo>
                  <a:pt x="441769" y="2717901"/>
                </a:lnTo>
                <a:lnTo>
                  <a:pt x="429641" y="2664041"/>
                </a:lnTo>
                <a:lnTo>
                  <a:pt x="419074" y="2610193"/>
                </a:lnTo>
                <a:lnTo>
                  <a:pt x="410044" y="2556370"/>
                </a:lnTo>
                <a:lnTo>
                  <a:pt x="402475" y="2502611"/>
                </a:lnTo>
                <a:lnTo>
                  <a:pt x="396328" y="2448966"/>
                </a:lnTo>
                <a:lnTo>
                  <a:pt x="391553" y="2395448"/>
                </a:lnTo>
                <a:lnTo>
                  <a:pt x="388112" y="2342108"/>
                </a:lnTo>
                <a:lnTo>
                  <a:pt x="385940" y="2288984"/>
                </a:lnTo>
                <a:lnTo>
                  <a:pt x="385000" y="2236089"/>
                </a:lnTo>
                <a:lnTo>
                  <a:pt x="385241" y="2183473"/>
                </a:lnTo>
                <a:lnTo>
                  <a:pt x="386613" y="2131174"/>
                </a:lnTo>
                <a:lnTo>
                  <a:pt x="389064" y="2079205"/>
                </a:lnTo>
                <a:lnTo>
                  <a:pt x="392544" y="2027631"/>
                </a:lnTo>
                <a:lnTo>
                  <a:pt x="397002" y="1976462"/>
                </a:lnTo>
                <a:lnTo>
                  <a:pt x="402399" y="1925751"/>
                </a:lnTo>
                <a:lnTo>
                  <a:pt x="408686" y="1875510"/>
                </a:lnTo>
                <a:lnTo>
                  <a:pt x="415798" y="1825802"/>
                </a:lnTo>
                <a:lnTo>
                  <a:pt x="423710" y="1776641"/>
                </a:lnTo>
                <a:lnTo>
                  <a:pt x="432346" y="1728063"/>
                </a:lnTo>
                <a:lnTo>
                  <a:pt x="441680" y="1680108"/>
                </a:lnTo>
                <a:lnTo>
                  <a:pt x="451650" y="1632813"/>
                </a:lnTo>
                <a:lnTo>
                  <a:pt x="462216" y="1586217"/>
                </a:lnTo>
                <a:lnTo>
                  <a:pt x="473329" y="1540332"/>
                </a:lnTo>
                <a:lnTo>
                  <a:pt x="484924" y="1495221"/>
                </a:lnTo>
                <a:lnTo>
                  <a:pt x="496963" y="1450898"/>
                </a:lnTo>
                <a:lnTo>
                  <a:pt x="509397" y="1407401"/>
                </a:lnTo>
                <a:lnTo>
                  <a:pt x="522185" y="1364767"/>
                </a:lnTo>
                <a:lnTo>
                  <a:pt x="535266" y="1323035"/>
                </a:lnTo>
                <a:lnTo>
                  <a:pt x="548601" y="1282242"/>
                </a:lnTo>
                <a:lnTo>
                  <a:pt x="562127" y="1242402"/>
                </a:lnTo>
                <a:lnTo>
                  <a:pt x="575805" y="1203579"/>
                </a:lnTo>
                <a:lnTo>
                  <a:pt x="589584" y="1165783"/>
                </a:lnTo>
                <a:lnTo>
                  <a:pt x="603415" y="1129068"/>
                </a:lnTo>
                <a:lnTo>
                  <a:pt x="627557" y="1067549"/>
                </a:lnTo>
                <a:lnTo>
                  <a:pt x="652068" y="1007935"/>
                </a:lnTo>
                <a:lnTo>
                  <a:pt x="676821" y="950328"/>
                </a:lnTo>
                <a:lnTo>
                  <a:pt x="701662" y="894803"/>
                </a:lnTo>
                <a:lnTo>
                  <a:pt x="726452" y="841451"/>
                </a:lnTo>
                <a:lnTo>
                  <a:pt x="751052" y="790371"/>
                </a:lnTo>
                <a:lnTo>
                  <a:pt x="775309" y="741654"/>
                </a:lnTo>
                <a:lnTo>
                  <a:pt x="799084" y="695375"/>
                </a:lnTo>
                <a:lnTo>
                  <a:pt x="822223" y="651624"/>
                </a:lnTo>
                <a:lnTo>
                  <a:pt x="844588" y="610514"/>
                </a:lnTo>
                <a:lnTo>
                  <a:pt x="866038" y="572109"/>
                </a:lnTo>
                <a:lnTo>
                  <a:pt x="886421" y="536498"/>
                </a:lnTo>
                <a:lnTo>
                  <a:pt x="923442" y="474065"/>
                </a:lnTo>
                <a:lnTo>
                  <a:pt x="939774" y="447421"/>
                </a:lnTo>
                <a:lnTo>
                  <a:pt x="1083945" y="536181"/>
                </a:lnTo>
                <a:lnTo>
                  <a:pt x="1153033" y="580072"/>
                </a:lnTo>
                <a:lnTo>
                  <a:pt x="1190205" y="604189"/>
                </a:lnTo>
                <a:lnTo>
                  <a:pt x="1228966" y="629754"/>
                </a:lnTo>
                <a:lnTo>
                  <a:pt x="1269174" y="656742"/>
                </a:lnTo>
                <a:lnTo>
                  <a:pt x="1310728" y="685152"/>
                </a:lnTo>
                <a:lnTo>
                  <a:pt x="1353489" y="714984"/>
                </a:lnTo>
                <a:lnTo>
                  <a:pt x="1397342" y="746201"/>
                </a:lnTo>
                <a:lnTo>
                  <a:pt x="1442148" y="778827"/>
                </a:lnTo>
                <a:lnTo>
                  <a:pt x="1487792" y="812838"/>
                </a:lnTo>
                <a:lnTo>
                  <a:pt x="1534147" y="848233"/>
                </a:lnTo>
                <a:lnTo>
                  <a:pt x="1581099" y="884986"/>
                </a:lnTo>
                <a:lnTo>
                  <a:pt x="1628508" y="923112"/>
                </a:lnTo>
                <a:lnTo>
                  <a:pt x="1676260" y="962583"/>
                </a:lnTo>
                <a:lnTo>
                  <a:pt x="1724215" y="1003388"/>
                </a:lnTo>
                <a:lnTo>
                  <a:pt x="1772272" y="1045540"/>
                </a:lnTo>
                <a:lnTo>
                  <a:pt x="1820291" y="1089025"/>
                </a:lnTo>
                <a:lnTo>
                  <a:pt x="1863077" y="1128979"/>
                </a:lnTo>
                <a:lnTo>
                  <a:pt x="1904695" y="1169073"/>
                </a:lnTo>
                <a:lnTo>
                  <a:pt x="1945144" y="1209268"/>
                </a:lnTo>
                <a:lnTo>
                  <a:pt x="1984438" y="1249591"/>
                </a:lnTo>
                <a:lnTo>
                  <a:pt x="2022563" y="1290027"/>
                </a:lnTo>
                <a:lnTo>
                  <a:pt x="2059520" y="1330566"/>
                </a:lnTo>
                <a:lnTo>
                  <a:pt x="2095296" y="1371219"/>
                </a:lnTo>
                <a:lnTo>
                  <a:pt x="2129917" y="1411973"/>
                </a:lnTo>
                <a:lnTo>
                  <a:pt x="2163343" y="1452829"/>
                </a:lnTo>
                <a:lnTo>
                  <a:pt x="2195614" y="1493786"/>
                </a:lnTo>
                <a:lnTo>
                  <a:pt x="2226691" y="1534833"/>
                </a:lnTo>
                <a:lnTo>
                  <a:pt x="2256599" y="1575981"/>
                </a:lnTo>
                <a:lnTo>
                  <a:pt x="2285314" y="1617218"/>
                </a:lnTo>
                <a:lnTo>
                  <a:pt x="2312847" y="1658531"/>
                </a:lnTo>
                <a:lnTo>
                  <a:pt x="2339200" y="1699933"/>
                </a:lnTo>
                <a:lnTo>
                  <a:pt x="2364359" y="1741424"/>
                </a:lnTo>
                <a:lnTo>
                  <a:pt x="2388324" y="1782991"/>
                </a:lnTo>
                <a:lnTo>
                  <a:pt x="2411107" y="1824621"/>
                </a:lnTo>
                <a:lnTo>
                  <a:pt x="2432697" y="1866341"/>
                </a:lnTo>
                <a:lnTo>
                  <a:pt x="2453081" y="1908111"/>
                </a:lnTo>
                <a:lnTo>
                  <a:pt x="2472271" y="1949958"/>
                </a:lnTo>
                <a:lnTo>
                  <a:pt x="2490266" y="1991868"/>
                </a:lnTo>
                <a:lnTo>
                  <a:pt x="2507056" y="2033828"/>
                </a:lnTo>
                <a:lnTo>
                  <a:pt x="2522651" y="2075853"/>
                </a:lnTo>
                <a:lnTo>
                  <a:pt x="2537028" y="2117941"/>
                </a:lnTo>
                <a:lnTo>
                  <a:pt x="2550198" y="2160066"/>
                </a:lnTo>
                <a:lnTo>
                  <a:pt x="2562174" y="2202243"/>
                </a:lnTo>
                <a:lnTo>
                  <a:pt x="2572918" y="2244471"/>
                </a:lnTo>
                <a:lnTo>
                  <a:pt x="2583611" y="2291511"/>
                </a:lnTo>
                <a:lnTo>
                  <a:pt x="2593149" y="2338679"/>
                </a:lnTo>
                <a:lnTo>
                  <a:pt x="2601531" y="2385961"/>
                </a:lnTo>
                <a:lnTo>
                  <a:pt x="2608757" y="2433358"/>
                </a:lnTo>
                <a:lnTo>
                  <a:pt x="2614828" y="2480868"/>
                </a:lnTo>
                <a:lnTo>
                  <a:pt x="2619743" y="2528493"/>
                </a:lnTo>
                <a:lnTo>
                  <a:pt x="2623515" y="2576233"/>
                </a:lnTo>
                <a:lnTo>
                  <a:pt x="2626118" y="2624074"/>
                </a:lnTo>
                <a:lnTo>
                  <a:pt x="2627579" y="2672016"/>
                </a:lnTo>
                <a:lnTo>
                  <a:pt x="2627884" y="2720048"/>
                </a:lnTo>
                <a:lnTo>
                  <a:pt x="2627033" y="2768193"/>
                </a:lnTo>
                <a:lnTo>
                  <a:pt x="2625039" y="2816428"/>
                </a:lnTo>
                <a:lnTo>
                  <a:pt x="2621877" y="2864751"/>
                </a:lnTo>
                <a:lnTo>
                  <a:pt x="2617584" y="2913164"/>
                </a:lnTo>
                <a:lnTo>
                  <a:pt x="2612123" y="2961652"/>
                </a:lnTo>
                <a:lnTo>
                  <a:pt x="2605519" y="3010230"/>
                </a:lnTo>
                <a:lnTo>
                  <a:pt x="2597772" y="3058896"/>
                </a:lnTo>
                <a:lnTo>
                  <a:pt x="2588869" y="3107639"/>
                </a:lnTo>
                <a:lnTo>
                  <a:pt x="2578811" y="3156445"/>
                </a:lnTo>
                <a:lnTo>
                  <a:pt x="2567609" y="3205327"/>
                </a:lnTo>
                <a:lnTo>
                  <a:pt x="2555265" y="3254286"/>
                </a:lnTo>
                <a:lnTo>
                  <a:pt x="2541765" y="3303295"/>
                </a:lnTo>
                <a:lnTo>
                  <a:pt x="2527122" y="3352381"/>
                </a:lnTo>
                <a:lnTo>
                  <a:pt x="2511323" y="3401530"/>
                </a:lnTo>
                <a:lnTo>
                  <a:pt x="2494381" y="3450717"/>
                </a:lnTo>
                <a:lnTo>
                  <a:pt x="2476296" y="3499980"/>
                </a:lnTo>
                <a:lnTo>
                  <a:pt x="2457069" y="3549281"/>
                </a:lnTo>
                <a:lnTo>
                  <a:pt x="2436685" y="3598634"/>
                </a:lnTo>
                <a:lnTo>
                  <a:pt x="2415159" y="3648037"/>
                </a:lnTo>
                <a:lnTo>
                  <a:pt x="2392489" y="3697478"/>
                </a:lnTo>
                <a:lnTo>
                  <a:pt x="2368677" y="3746970"/>
                </a:lnTo>
                <a:lnTo>
                  <a:pt x="2353741" y="3788791"/>
                </a:lnTo>
                <a:lnTo>
                  <a:pt x="2348839" y="3831513"/>
                </a:lnTo>
                <a:lnTo>
                  <a:pt x="2353424" y="3873589"/>
                </a:lnTo>
                <a:lnTo>
                  <a:pt x="2367000" y="3913492"/>
                </a:lnTo>
                <a:lnTo>
                  <a:pt x="2389009" y="3949649"/>
                </a:lnTo>
                <a:lnTo>
                  <a:pt x="2418943" y="3980535"/>
                </a:lnTo>
                <a:lnTo>
                  <a:pt x="2456269" y="4004589"/>
                </a:lnTo>
                <a:lnTo>
                  <a:pt x="2498102" y="4019524"/>
                </a:lnTo>
                <a:lnTo>
                  <a:pt x="2540825" y="4024439"/>
                </a:lnTo>
                <a:lnTo>
                  <a:pt x="2582913" y="4019842"/>
                </a:lnTo>
                <a:lnTo>
                  <a:pt x="2622804" y="4006278"/>
                </a:lnTo>
                <a:lnTo>
                  <a:pt x="2658961" y="3984269"/>
                </a:lnTo>
                <a:lnTo>
                  <a:pt x="2689834" y="3954322"/>
                </a:lnTo>
                <a:lnTo>
                  <a:pt x="2713888" y="3916997"/>
                </a:lnTo>
                <a:lnTo>
                  <a:pt x="2737789" y="3867480"/>
                </a:lnTo>
                <a:lnTo>
                  <a:pt x="2760700" y="3817963"/>
                </a:lnTo>
                <a:lnTo>
                  <a:pt x="2782608" y="3768471"/>
                </a:lnTo>
                <a:lnTo>
                  <a:pt x="2803525" y="3718979"/>
                </a:lnTo>
                <a:lnTo>
                  <a:pt x="2823451" y="3669512"/>
                </a:lnTo>
                <a:lnTo>
                  <a:pt x="2842387" y="3620058"/>
                </a:lnTo>
                <a:lnTo>
                  <a:pt x="2860332" y="3570617"/>
                </a:lnTo>
                <a:lnTo>
                  <a:pt x="2877274" y="3521214"/>
                </a:lnTo>
                <a:lnTo>
                  <a:pt x="2893225" y="3471811"/>
                </a:lnTo>
                <a:lnTo>
                  <a:pt x="2908185" y="3422446"/>
                </a:lnTo>
                <a:lnTo>
                  <a:pt x="2922143" y="3373107"/>
                </a:lnTo>
                <a:lnTo>
                  <a:pt x="2935109" y="3323806"/>
                </a:lnTo>
                <a:lnTo>
                  <a:pt x="2947085" y="3274517"/>
                </a:lnTo>
                <a:lnTo>
                  <a:pt x="2958058" y="3225279"/>
                </a:lnTo>
                <a:lnTo>
                  <a:pt x="2968040" y="3176066"/>
                </a:lnTo>
                <a:lnTo>
                  <a:pt x="2977032" y="3126892"/>
                </a:lnTo>
                <a:lnTo>
                  <a:pt x="2985020" y="3077768"/>
                </a:lnTo>
                <a:lnTo>
                  <a:pt x="2992005" y="3028670"/>
                </a:lnTo>
                <a:lnTo>
                  <a:pt x="2998000" y="2979623"/>
                </a:lnTo>
                <a:lnTo>
                  <a:pt x="3003004" y="2930626"/>
                </a:lnTo>
                <a:lnTo>
                  <a:pt x="3007004" y="2881680"/>
                </a:lnTo>
                <a:lnTo>
                  <a:pt x="3010001" y="2832773"/>
                </a:lnTo>
                <a:lnTo>
                  <a:pt x="3012008" y="2783929"/>
                </a:lnTo>
                <a:lnTo>
                  <a:pt x="3013011" y="2735135"/>
                </a:lnTo>
                <a:lnTo>
                  <a:pt x="3013024" y="26863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E4998F54-9DDC-4A12-B87A-A9BCB949566E}"/>
              </a:ext>
            </a:extLst>
          </p:cNvPr>
          <p:cNvSpPr/>
          <p:nvPr userDrawn="1"/>
        </p:nvSpPr>
        <p:spPr>
          <a:xfrm>
            <a:off x="333375" y="3962209"/>
            <a:ext cx="66675" cy="1061276"/>
          </a:xfrm>
          <a:custGeom>
            <a:avLst/>
            <a:gdLst/>
            <a:ahLst/>
            <a:cxnLst/>
            <a:rect l="l" t="t" r="r" b="b"/>
            <a:pathLst>
              <a:path w="88900" h="1572259">
                <a:moveTo>
                  <a:pt x="44450" y="0"/>
                </a:moveTo>
                <a:lnTo>
                  <a:pt x="27148" y="3901"/>
                </a:lnTo>
                <a:lnTo>
                  <a:pt x="13019" y="13800"/>
                </a:lnTo>
                <a:lnTo>
                  <a:pt x="3493" y="26987"/>
                </a:lnTo>
                <a:lnTo>
                  <a:pt x="0" y="40754"/>
                </a:lnTo>
                <a:lnTo>
                  <a:pt x="0" y="1531480"/>
                </a:lnTo>
                <a:lnTo>
                  <a:pt x="3493" y="1545247"/>
                </a:lnTo>
                <a:lnTo>
                  <a:pt x="13019" y="1558434"/>
                </a:lnTo>
                <a:lnTo>
                  <a:pt x="27148" y="1568333"/>
                </a:lnTo>
                <a:lnTo>
                  <a:pt x="44450" y="1572234"/>
                </a:lnTo>
                <a:lnTo>
                  <a:pt x="61751" y="1568333"/>
                </a:lnTo>
                <a:lnTo>
                  <a:pt x="75880" y="1558434"/>
                </a:lnTo>
                <a:lnTo>
                  <a:pt x="85406" y="1545247"/>
                </a:lnTo>
                <a:lnTo>
                  <a:pt x="88900" y="1531480"/>
                </a:lnTo>
                <a:lnTo>
                  <a:pt x="88900" y="40754"/>
                </a:lnTo>
                <a:lnTo>
                  <a:pt x="85406" y="26987"/>
                </a:lnTo>
                <a:lnTo>
                  <a:pt x="75880" y="13800"/>
                </a:lnTo>
                <a:lnTo>
                  <a:pt x="61751" y="3901"/>
                </a:lnTo>
                <a:lnTo>
                  <a:pt x="444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5" name="Espace réservé du texte 20">
            <a:extLst>
              <a:ext uri="{FF2B5EF4-FFF2-40B4-BE49-F238E27FC236}">
                <a16:creationId xmlns:a16="http://schemas.microsoft.com/office/drawing/2014/main" id="{7C026FB1-80A7-4DC0-86F6-C752FF46AC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741" y="4013645"/>
            <a:ext cx="5047059" cy="934872"/>
          </a:xfrm>
        </p:spPr>
        <p:txBody>
          <a:bodyPr/>
          <a:lstStyle>
            <a:lvl1pPr>
              <a:lnSpc>
                <a:spcPct val="100000"/>
              </a:lnSpc>
              <a:defRPr sz="2025" b="1">
                <a:solidFill>
                  <a:schemeClr val="bg1"/>
                </a:solidFill>
                <a:latin typeface="Montserrat" pitchFamily="2" charset="77"/>
              </a:defRPr>
            </a:lvl1pPr>
            <a:lvl2pPr>
              <a:lnSpc>
                <a:spcPct val="150000"/>
              </a:lnSpc>
              <a:defRPr sz="2025" b="1">
                <a:latin typeface="Montserrat" pitchFamily="2" charset="77"/>
              </a:defRPr>
            </a:lvl2pPr>
            <a:lvl3pPr>
              <a:lnSpc>
                <a:spcPct val="150000"/>
              </a:lnSpc>
              <a:defRPr sz="2025" b="1">
                <a:latin typeface="Montserrat" pitchFamily="2" charset="77"/>
              </a:defRPr>
            </a:lvl3pPr>
            <a:lvl4pPr>
              <a:lnSpc>
                <a:spcPct val="150000"/>
              </a:lnSpc>
              <a:defRPr sz="2025" b="1">
                <a:latin typeface="Montserrat" pitchFamily="2" charset="77"/>
              </a:defRPr>
            </a:lvl4pPr>
            <a:lvl5pPr>
              <a:lnSpc>
                <a:spcPct val="150000"/>
              </a:lnSpc>
              <a:defRPr sz="2025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sur 3 lignes maximum / Typo : Montserrat Bold / Corps : 30 pt</a:t>
            </a:r>
          </a:p>
        </p:txBody>
      </p:sp>
    </p:spTree>
    <p:extLst>
      <p:ext uri="{BB962C8B-B14F-4D97-AF65-F5344CB8AC3E}">
        <p14:creationId xmlns:p14="http://schemas.microsoft.com/office/powerpoint/2010/main" val="1884440925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ddd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  <p:sp>
        <p:nvSpPr>
          <p:cNvPr id="11" name="bg object 16">
            <a:extLst>
              <a:ext uri="{FF2B5EF4-FFF2-40B4-BE49-F238E27FC236}">
                <a16:creationId xmlns:a16="http://schemas.microsoft.com/office/drawing/2014/main" id="{A95CAB7C-461D-2B4C-A37E-38EB96CD2994}"/>
              </a:ext>
            </a:extLst>
          </p:cNvPr>
          <p:cNvSpPr/>
          <p:nvPr userDrawn="1"/>
        </p:nvSpPr>
        <p:spPr>
          <a:xfrm>
            <a:off x="0" y="-4286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10160000">
                <a:moveTo>
                  <a:pt x="16256000" y="0"/>
                </a:moveTo>
                <a:lnTo>
                  <a:pt x="0" y="0"/>
                </a:lnTo>
                <a:lnTo>
                  <a:pt x="0" y="10160000"/>
                </a:lnTo>
                <a:lnTo>
                  <a:pt x="16256000" y="101600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F5AAD3B4-F77B-A14C-A31B-754426CEF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284031"/>
            <a:ext cx="8343900" cy="830997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5400" b="1" i="0">
                <a:solidFill>
                  <a:schemeClr val="tx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CCBE606C-56DA-AD48-8404-73EA16AD17C6}"/>
              </a:ext>
            </a:extLst>
          </p:cNvPr>
          <p:cNvSpPr/>
          <p:nvPr userDrawn="1"/>
        </p:nvSpPr>
        <p:spPr>
          <a:xfrm>
            <a:off x="342904" y="6049398"/>
            <a:ext cx="580073" cy="516065"/>
          </a:xfrm>
          <a:custGeom>
            <a:avLst/>
            <a:gdLst/>
            <a:ahLst/>
            <a:cxnLst/>
            <a:rect l="l" t="t" r="r" b="b"/>
            <a:pathLst>
              <a:path w="773430" h="764540">
                <a:moveTo>
                  <a:pt x="180582" y="646864"/>
                </a:moveTo>
                <a:lnTo>
                  <a:pt x="170443" y="650659"/>
                </a:lnTo>
                <a:lnTo>
                  <a:pt x="162217" y="658088"/>
                </a:lnTo>
                <a:lnTo>
                  <a:pt x="157754" y="668750"/>
                </a:lnTo>
                <a:lnTo>
                  <a:pt x="157884" y="679892"/>
                </a:lnTo>
                <a:lnTo>
                  <a:pt x="209356" y="722014"/>
                </a:lnTo>
                <a:lnTo>
                  <a:pt x="252003" y="740616"/>
                </a:lnTo>
                <a:lnTo>
                  <a:pt x="297098" y="753782"/>
                </a:lnTo>
                <a:lnTo>
                  <a:pt x="343418" y="761609"/>
                </a:lnTo>
                <a:lnTo>
                  <a:pt x="389737" y="764197"/>
                </a:lnTo>
                <a:lnTo>
                  <a:pt x="437327" y="761274"/>
                </a:lnTo>
                <a:lnTo>
                  <a:pt x="483303" y="752701"/>
                </a:lnTo>
                <a:lnTo>
                  <a:pt x="527284" y="738767"/>
                </a:lnTo>
                <a:lnTo>
                  <a:pt x="568887" y="719761"/>
                </a:lnTo>
                <a:lnTo>
                  <a:pt x="589629" y="707059"/>
                </a:lnTo>
                <a:lnTo>
                  <a:pt x="389737" y="707059"/>
                </a:lnTo>
                <a:lnTo>
                  <a:pt x="340321" y="703600"/>
                </a:lnTo>
                <a:lnTo>
                  <a:pt x="291285" y="693158"/>
                </a:lnTo>
                <a:lnTo>
                  <a:pt x="244542" y="675636"/>
                </a:lnTo>
                <a:lnTo>
                  <a:pt x="202006" y="650938"/>
                </a:lnTo>
                <a:lnTo>
                  <a:pt x="191486" y="646894"/>
                </a:lnTo>
                <a:lnTo>
                  <a:pt x="180582" y="646864"/>
                </a:lnTo>
                <a:close/>
              </a:path>
              <a:path w="773430" h="764540">
                <a:moveTo>
                  <a:pt x="762815" y="295884"/>
                </a:moveTo>
                <a:lnTo>
                  <a:pt x="690727" y="295884"/>
                </a:lnTo>
                <a:lnTo>
                  <a:pt x="700739" y="300029"/>
                </a:lnTo>
                <a:lnTo>
                  <a:pt x="708836" y="312974"/>
                </a:lnTo>
                <a:lnTo>
                  <a:pt x="714253" y="335484"/>
                </a:lnTo>
                <a:lnTo>
                  <a:pt x="716229" y="368325"/>
                </a:lnTo>
                <a:lnTo>
                  <a:pt x="712373" y="421977"/>
                </a:lnTo>
                <a:lnTo>
                  <a:pt x="701269" y="471982"/>
                </a:lnTo>
                <a:lnTo>
                  <a:pt x="683610" y="518032"/>
                </a:lnTo>
                <a:lnTo>
                  <a:pt x="660092" y="559819"/>
                </a:lnTo>
                <a:lnTo>
                  <a:pt x="631409" y="597033"/>
                </a:lnTo>
                <a:lnTo>
                  <a:pt x="598256" y="629368"/>
                </a:lnTo>
                <a:lnTo>
                  <a:pt x="561326" y="656515"/>
                </a:lnTo>
                <a:lnTo>
                  <a:pt x="521315" y="678166"/>
                </a:lnTo>
                <a:lnTo>
                  <a:pt x="478917" y="694012"/>
                </a:lnTo>
                <a:lnTo>
                  <a:pt x="434826" y="703746"/>
                </a:lnTo>
                <a:lnTo>
                  <a:pt x="389737" y="707059"/>
                </a:lnTo>
                <a:lnTo>
                  <a:pt x="589629" y="707059"/>
                </a:lnTo>
                <a:lnTo>
                  <a:pt x="643435" y="667695"/>
                </a:lnTo>
                <a:lnTo>
                  <a:pt x="675617" y="635215"/>
                </a:lnTo>
                <a:lnTo>
                  <a:pt x="703894" y="598822"/>
                </a:lnTo>
                <a:lnTo>
                  <a:pt x="727886" y="558807"/>
                </a:lnTo>
                <a:lnTo>
                  <a:pt x="747211" y="515460"/>
                </a:lnTo>
                <a:lnTo>
                  <a:pt x="761487" y="469071"/>
                </a:lnTo>
                <a:lnTo>
                  <a:pt x="770333" y="419929"/>
                </a:lnTo>
                <a:lnTo>
                  <a:pt x="773366" y="368325"/>
                </a:lnTo>
                <a:lnTo>
                  <a:pt x="765045" y="300139"/>
                </a:lnTo>
                <a:lnTo>
                  <a:pt x="762815" y="295884"/>
                </a:lnTo>
                <a:close/>
              </a:path>
              <a:path w="773430" h="764540">
                <a:moveTo>
                  <a:pt x="526859" y="343839"/>
                </a:moveTo>
                <a:lnTo>
                  <a:pt x="471360" y="343839"/>
                </a:lnTo>
                <a:lnTo>
                  <a:pt x="479237" y="366174"/>
                </a:lnTo>
                <a:lnTo>
                  <a:pt x="483023" y="409199"/>
                </a:lnTo>
                <a:lnTo>
                  <a:pt x="483030" y="410937"/>
                </a:lnTo>
                <a:lnTo>
                  <a:pt x="478538" y="472823"/>
                </a:lnTo>
                <a:lnTo>
                  <a:pt x="461162" y="551980"/>
                </a:lnTo>
                <a:lnTo>
                  <a:pt x="460156" y="565032"/>
                </a:lnTo>
                <a:lnTo>
                  <a:pt x="464605" y="576845"/>
                </a:lnTo>
                <a:lnTo>
                  <a:pt x="474219" y="585407"/>
                </a:lnTo>
                <a:lnTo>
                  <a:pt x="488708" y="588708"/>
                </a:lnTo>
                <a:lnTo>
                  <a:pt x="499728" y="586030"/>
                </a:lnTo>
                <a:lnTo>
                  <a:pt x="508738" y="578761"/>
                </a:lnTo>
                <a:lnTo>
                  <a:pt x="516406" y="568048"/>
                </a:lnTo>
                <a:lnTo>
                  <a:pt x="523405" y="555040"/>
                </a:lnTo>
                <a:lnTo>
                  <a:pt x="547288" y="506056"/>
                </a:lnTo>
                <a:lnTo>
                  <a:pt x="576304" y="449757"/>
                </a:lnTo>
                <a:lnTo>
                  <a:pt x="589307" y="426478"/>
                </a:lnTo>
                <a:lnTo>
                  <a:pt x="531558" y="426478"/>
                </a:lnTo>
                <a:lnTo>
                  <a:pt x="532327" y="364610"/>
                </a:lnTo>
                <a:lnTo>
                  <a:pt x="526859" y="343839"/>
                </a:lnTo>
                <a:close/>
              </a:path>
              <a:path w="773430" h="764540">
                <a:moveTo>
                  <a:pt x="391782" y="0"/>
                </a:moveTo>
                <a:lnTo>
                  <a:pt x="341849" y="2961"/>
                </a:lnTo>
                <a:lnTo>
                  <a:pt x="293990" y="11592"/>
                </a:lnTo>
                <a:lnTo>
                  <a:pt x="248539" y="25515"/>
                </a:lnTo>
                <a:lnTo>
                  <a:pt x="205830" y="44351"/>
                </a:lnTo>
                <a:lnTo>
                  <a:pt x="166197" y="67719"/>
                </a:lnTo>
                <a:lnTo>
                  <a:pt x="129975" y="95242"/>
                </a:lnTo>
                <a:lnTo>
                  <a:pt x="97497" y="126541"/>
                </a:lnTo>
                <a:lnTo>
                  <a:pt x="69099" y="161237"/>
                </a:lnTo>
                <a:lnTo>
                  <a:pt x="45115" y="198950"/>
                </a:lnTo>
                <a:lnTo>
                  <a:pt x="25878" y="239302"/>
                </a:lnTo>
                <a:lnTo>
                  <a:pt x="11724" y="281914"/>
                </a:lnTo>
                <a:lnTo>
                  <a:pt x="2986" y="326407"/>
                </a:lnTo>
                <a:lnTo>
                  <a:pt x="0" y="372402"/>
                </a:lnTo>
                <a:lnTo>
                  <a:pt x="1275" y="409199"/>
                </a:lnTo>
                <a:lnTo>
                  <a:pt x="7907" y="458619"/>
                </a:lnTo>
                <a:lnTo>
                  <a:pt x="24104" y="514159"/>
                </a:lnTo>
                <a:lnTo>
                  <a:pt x="54076" y="569315"/>
                </a:lnTo>
                <a:lnTo>
                  <a:pt x="74475" y="581053"/>
                </a:lnTo>
                <a:lnTo>
                  <a:pt x="86494" y="579077"/>
                </a:lnTo>
                <a:lnTo>
                  <a:pt x="97942" y="571360"/>
                </a:lnTo>
                <a:lnTo>
                  <a:pt x="163214" y="506056"/>
                </a:lnTo>
                <a:lnTo>
                  <a:pt x="82638" y="506056"/>
                </a:lnTo>
                <a:lnTo>
                  <a:pt x="71335" y="475242"/>
                </a:lnTo>
                <a:lnTo>
                  <a:pt x="63382" y="443185"/>
                </a:lnTo>
                <a:lnTo>
                  <a:pt x="58682" y="410937"/>
                </a:lnTo>
                <a:lnTo>
                  <a:pt x="57137" y="379552"/>
                </a:lnTo>
                <a:lnTo>
                  <a:pt x="60470" y="333636"/>
                </a:lnTo>
                <a:lnTo>
                  <a:pt x="70242" y="289234"/>
                </a:lnTo>
                <a:lnTo>
                  <a:pt x="86112" y="246949"/>
                </a:lnTo>
                <a:lnTo>
                  <a:pt x="107741" y="207381"/>
                </a:lnTo>
                <a:lnTo>
                  <a:pt x="134787" y="171135"/>
                </a:lnTo>
                <a:lnTo>
                  <a:pt x="166911" y="138813"/>
                </a:lnTo>
                <a:lnTo>
                  <a:pt x="203772" y="111016"/>
                </a:lnTo>
                <a:lnTo>
                  <a:pt x="245030" y="88347"/>
                </a:lnTo>
                <a:lnTo>
                  <a:pt x="290345" y="71410"/>
                </a:lnTo>
                <a:lnTo>
                  <a:pt x="339375" y="60805"/>
                </a:lnTo>
                <a:lnTo>
                  <a:pt x="391782" y="57137"/>
                </a:lnTo>
                <a:lnTo>
                  <a:pt x="589129" y="57137"/>
                </a:lnTo>
                <a:lnTo>
                  <a:pt x="579364" y="50792"/>
                </a:lnTo>
                <a:lnTo>
                  <a:pt x="534623" y="29081"/>
                </a:lnTo>
                <a:lnTo>
                  <a:pt x="487842" y="13152"/>
                </a:lnTo>
                <a:lnTo>
                  <a:pt x="439926" y="3344"/>
                </a:lnTo>
                <a:lnTo>
                  <a:pt x="391782" y="0"/>
                </a:lnTo>
                <a:close/>
              </a:path>
              <a:path w="773430" h="764540">
                <a:moveTo>
                  <a:pt x="470344" y="286702"/>
                </a:moveTo>
                <a:lnTo>
                  <a:pt x="435688" y="297590"/>
                </a:lnTo>
                <a:lnTo>
                  <a:pt x="406579" y="325599"/>
                </a:lnTo>
                <a:lnTo>
                  <a:pt x="378234" y="363747"/>
                </a:lnTo>
                <a:lnTo>
                  <a:pt x="345871" y="405053"/>
                </a:lnTo>
                <a:lnTo>
                  <a:pt x="315868" y="435824"/>
                </a:lnTo>
                <a:lnTo>
                  <a:pt x="285673" y="460662"/>
                </a:lnTo>
                <a:lnTo>
                  <a:pt x="234657" y="482600"/>
                </a:lnTo>
                <a:lnTo>
                  <a:pt x="218589" y="484635"/>
                </a:lnTo>
                <a:lnTo>
                  <a:pt x="207111" y="491264"/>
                </a:lnTo>
                <a:lnTo>
                  <a:pt x="200225" y="500955"/>
                </a:lnTo>
                <a:lnTo>
                  <a:pt x="197929" y="512178"/>
                </a:lnTo>
                <a:lnTo>
                  <a:pt x="200639" y="524231"/>
                </a:lnTo>
                <a:lnTo>
                  <a:pt x="208132" y="532844"/>
                </a:lnTo>
                <a:lnTo>
                  <a:pt x="219451" y="538013"/>
                </a:lnTo>
                <a:lnTo>
                  <a:pt x="233641" y="539737"/>
                </a:lnTo>
                <a:lnTo>
                  <a:pt x="277320" y="531622"/>
                </a:lnTo>
                <a:lnTo>
                  <a:pt x="319087" y="510786"/>
                </a:lnTo>
                <a:lnTo>
                  <a:pt x="355882" y="482489"/>
                </a:lnTo>
                <a:lnTo>
                  <a:pt x="384644" y="451993"/>
                </a:lnTo>
                <a:lnTo>
                  <a:pt x="414117" y="412850"/>
                </a:lnTo>
                <a:lnTo>
                  <a:pt x="437565" y="379928"/>
                </a:lnTo>
                <a:lnTo>
                  <a:pt x="456232" y="356000"/>
                </a:lnTo>
                <a:lnTo>
                  <a:pt x="471360" y="343839"/>
                </a:lnTo>
                <a:lnTo>
                  <a:pt x="526859" y="343839"/>
                </a:lnTo>
                <a:lnTo>
                  <a:pt x="520849" y="321009"/>
                </a:lnTo>
                <a:lnTo>
                  <a:pt x="499422" y="295199"/>
                </a:lnTo>
                <a:lnTo>
                  <a:pt x="470344" y="286702"/>
                </a:lnTo>
                <a:close/>
              </a:path>
              <a:path w="773430" h="764540">
                <a:moveTo>
                  <a:pt x="394843" y="239763"/>
                </a:moveTo>
                <a:lnTo>
                  <a:pt x="282613" y="239763"/>
                </a:lnTo>
                <a:lnTo>
                  <a:pt x="297010" y="240736"/>
                </a:lnTo>
                <a:lnTo>
                  <a:pt x="309779" y="243719"/>
                </a:lnTo>
                <a:lnTo>
                  <a:pt x="321208" y="248807"/>
                </a:lnTo>
                <a:lnTo>
                  <a:pt x="331584" y="256095"/>
                </a:lnTo>
                <a:lnTo>
                  <a:pt x="82638" y="506056"/>
                </a:lnTo>
                <a:lnTo>
                  <a:pt x="163214" y="506056"/>
                </a:lnTo>
                <a:lnTo>
                  <a:pt x="347657" y="321009"/>
                </a:lnTo>
                <a:lnTo>
                  <a:pt x="392798" y="275475"/>
                </a:lnTo>
                <a:lnTo>
                  <a:pt x="399940" y="258005"/>
                </a:lnTo>
                <a:lnTo>
                  <a:pt x="398825" y="248359"/>
                </a:lnTo>
                <a:lnTo>
                  <a:pt x="394843" y="239763"/>
                </a:lnTo>
                <a:close/>
              </a:path>
              <a:path w="773430" h="764540">
                <a:moveTo>
                  <a:pt x="690727" y="237731"/>
                </a:moveTo>
                <a:lnTo>
                  <a:pt x="627355" y="268614"/>
                </a:lnTo>
                <a:lnTo>
                  <a:pt x="594198" y="306706"/>
                </a:lnTo>
                <a:lnTo>
                  <a:pt x="561825" y="359441"/>
                </a:lnTo>
                <a:lnTo>
                  <a:pt x="531558" y="426478"/>
                </a:lnTo>
                <a:lnTo>
                  <a:pt x="589307" y="426478"/>
                </a:lnTo>
                <a:lnTo>
                  <a:pt x="607828" y="393320"/>
                </a:lnTo>
                <a:lnTo>
                  <a:pt x="639183" y="344026"/>
                </a:lnTo>
                <a:lnTo>
                  <a:pt x="667704" y="309129"/>
                </a:lnTo>
                <a:lnTo>
                  <a:pt x="690727" y="295884"/>
                </a:lnTo>
                <a:lnTo>
                  <a:pt x="762815" y="295884"/>
                </a:lnTo>
                <a:lnTo>
                  <a:pt x="744291" y="260556"/>
                </a:lnTo>
                <a:lnTo>
                  <a:pt x="717414" y="242209"/>
                </a:lnTo>
                <a:lnTo>
                  <a:pt x="690727" y="237731"/>
                </a:lnTo>
                <a:close/>
              </a:path>
              <a:path w="773430" h="764540">
                <a:moveTo>
                  <a:pt x="280568" y="181610"/>
                </a:moveTo>
                <a:lnTo>
                  <a:pt x="234134" y="189541"/>
                </a:lnTo>
                <a:lnTo>
                  <a:pt x="192374" y="211389"/>
                </a:lnTo>
                <a:lnTo>
                  <a:pt x="157756" y="244233"/>
                </a:lnTo>
                <a:lnTo>
                  <a:pt x="132745" y="285155"/>
                </a:lnTo>
                <a:lnTo>
                  <a:pt x="119808" y="331234"/>
                </a:lnTo>
                <a:lnTo>
                  <a:pt x="121412" y="379552"/>
                </a:lnTo>
                <a:lnTo>
                  <a:pt x="125508" y="390389"/>
                </a:lnTo>
                <a:lnTo>
                  <a:pt x="132761" y="398167"/>
                </a:lnTo>
                <a:lnTo>
                  <a:pt x="142502" y="402501"/>
                </a:lnTo>
                <a:lnTo>
                  <a:pt x="154063" y="403009"/>
                </a:lnTo>
                <a:lnTo>
                  <a:pt x="164313" y="398738"/>
                </a:lnTo>
                <a:lnTo>
                  <a:pt x="171789" y="391025"/>
                </a:lnTo>
                <a:lnTo>
                  <a:pt x="176012" y="380633"/>
                </a:lnTo>
                <a:lnTo>
                  <a:pt x="176504" y="368325"/>
                </a:lnTo>
                <a:lnTo>
                  <a:pt x="180745" y="321121"/>
                </a:lnTo>
                <a:lnTo>
                  <a:pt x="203541" y="279941"/>
                </a:lnTo>
                <a:lnTo>
                  <a:pt x="239346" y="250812"/>
                </a:lnTo>
                <a:lnTo>
                  <a:pt x="282613" y="239763"/>
                </a:lnTo>
                <a:lnTo>
                  <a:pt x="394843" y="239763"/>
                </a:lnTo>
                <a:lnTo>
                  <a:pt x="371536" y="214753"/>
                </a:lnTo>
                <a:lnTo>
                  <a:pt x="343830" y="196532"/>
                </a:lnTo>
                <a:lnTo>
                  <a:pt x="313061" y="185388"/>
                </a:lnTo>
                <a:lnTo>
                  <a:pt x="280568" y="181610"/>
                </a:lnTo>
                <a:close/>
              </a:path>
              <a:path w="773430" h="764540">
                <a:moveTo>
                  <a:pt x="589129" y="57137"/>
                </a:moveTo>
                <a:lnTo>
                  <a:pt x="391782" y="57137"/>
                </a:lnTo>
                <a:lnTo>
                  <a:pt x="440537" y="61422"/>
                </a:lnTo>
                <a:lnTo>
                  <a:pt x="489192" y="73787"/>
                </a:lnTo>
                <a:lnTo>
                  <a:pt x="536427" y="93498"/>
                </a:lnTo>
                <a:lnTo>
                  <a:pt x="580919" y="119820"/>
                </a:lnTo>
                <a:lnTo>
                  <a:pt x="621347" y="152019"/>
                </a:lnTo>
                <a:lnTo>
                  <a:pt x="630866" y="157746"/>
                </a:lnTo>
                <a:lnTo>
                  <a:pt x="666703" y="141467"/>
                </a:lnTo>
                <a:lnTo>
                  <a:pt x="668153" y="130595"/>
                </a:lnTo>
                <a:lnTo>
                  <a:pt x="665583" y="119725"/>
                </a:lnTo>
                <a:lnTo>
                  <a:pt x="659091" y="110197"/>
                </a:lnTo>
                <a:lnTo>
                  <a:pt x="621155" y="77944"/>
                </a:lnTo>
                <a:lnTo>
                  <a:pt x="589129" y="57137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0DD32D0-6177-7E44-80E6-1E79AA081E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375" y="224375"/>
            <a:ext cx="1524000" cy="830997"/>
          </a:xfrm>
        </p:spPr>
        <p:txBody>
          <a:bodyPr/>
          <a:lstStyle>
            <a:lvl1pPr>
              <a:defRPr sz="5400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4.</a:t>
            </a:r>
          </a:p>
        </p:txBody>
      </p:sp>
      <p:sp>
        <p:nvSpPr>
          <p:cNvPr id="13" name="Espace réservé pour une image  48">
            <a:extLst>
              <a:ext uri="{FF2B5EF4-FFF2-40B4-BE49-F238E27FC236}">
                <a16:creationId xmlns:a16="http://schemas.microsoft.com/office/drawing/2014/main" id="{619E817B-4380-BB4E-9226-9E92AE582C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4914" y="2959967"/>
            <a:ext cx="5095124" cy="311752"/>
          </a:xfrm>
          <a:custGeom>
            <a:avLst/>
            <a:gdLst>
              <a:gd name="connsiteX0" fmla="*/ 0 w 4038600"/>
              <a:gd name="connsiteY0" fmla="*/ 194757 h 389513"/>
              <a:gd name="connsiteX1" fmla="*/ 2019300 w 4038600"/>
              <a:gd name="connsiteY1" fmla="*/ 0 h 389513"/>
              <a:gd name="connsiteX2" fmla="*/ 4038600 w 4038600"/>
              <a:gd name="connsiteY2" fmla="*/ 194757 h 389513"/>
              <a:gd name="connsiteX3" fmla="*/ 2019300 w 4038600"/>
              <a:gd name="connsiteY3" fmla="*/ 389514 h 389513"/>
              <a:gd name="connsiteX4" fmla="*/ 0 w 4038600"/>
              <a:gd name="connsiteY4" fmla="*/ 194757 h 389513"/>
              <a:gd name="connsiteX0" fmla="*/ 86 w 4038686"/>
              <a:gd name="connsiteY0" fmla="*/ 320794 h 3615212"/>
              <a:gd name="connsiteX1" fmla="*/ 2019386 w 4038686"/>
              <a:gd name="connsiteY1" fmla="*/ 126037 h 3615212"/>
              <a:gd name="connsiteX2" fmla="*/ 4038686 w 4038686"/>
              <a:gd name="connsiteY2" fmla="*/ 320794 h 3615212"/>
              <a:gd name="connsiteX3" fmla="*/ 2081379 w 4038686"/>
              <a:gd name="connsiteY3" fmla="*/ 3615212 h 3615212"/>
              <a:gd name="connsiteX4" fmla="*/ 86 w 4038686"/>
              <a:gd name="connsiteY4" fmla="*/ 320794 h 3615212"/>
              <a:gd name="connsiteX0" fmla="*/ 66 w 3868185"/>
              <a:gd name="connsiteY0" fmla="*/ 2336759 h 3681989"/>
              <a:gd name="connsiteX1" fmla="*/ 1848885 w 3868185"/>
              <a:gd name="connsiteY1" fmla="*/ 127222 h 3681989"/>
              <a:gd name="connsiteX2" fmla="*/ 3868185 w 3868185"/>
              <a:gd name="connsiteY2" fmla="*/ 321979 h 3681989"/>
              <a:gd name="connsiteX3" fmla="*/ 1910878 w 3868185"/>
              <a:gd name="connsiteY3" fmla="*/ 3616397 h 3681989"/>
              <a:gd name="connsiteX4" fmla="*/ 66 w 3868185"/>
              <a:gd name="connsiteY4" fmla="*/ 2336759 h 3681989"/>
              <a:gd name="connsiteX0" fmla="*/ 58458 w 3926577"/>
              <a:gd name="connsiteY0" fmla="*/ 2139671 h 3482778"/>
              <a:gd name="connsiteX1" fmla="*/ 806898 w 3926577"/>
              <a:gd name="connsiteY1" fmla="*/ 209103 h 3482778"/>
              <a:gd name="connsiteX2" fmla="*/ 3926577 w 3926577"/>
              <a:gd name="connsiteY2" fmla="*/ 124891 h 3482778"/>
              <a:gd name="connsiteX3" fmla="*/ 1969270 w 3926577"/>
              <a:gd name="connsiteY3" fmla="*/ 3419309 h 3482778"/>
              <a:gd name="connsiteX4" fmla="*/ 58458 w 3926577"/>
              <a:gd name="connsiteY4" fmla="*/ 2139671 h 348277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34575 h 3220638"/>
              <a:gd name="connsiteX1" fmla="*/ 798950 w 3376188"/>
              <a:gd name="connsiteY1" fmla="*/ 4007 h 3220638"/>
              <a:gd name="connsiteX2" fmla="*/ 3376188 w 3376188"/>
              <a:gd name="connsiteY2" fmla="*/ 1407633 h 3220638"/>
              <a:gd name="connsiteX3" fmla="*/ 1961322 w 3376188"/>
              <a:gd name="connsiteY3" fmla="*/ 3214213 h 3220638"/>
              <a:gd name="connsiteX4" fmla="*/ 50510 w 3376188"/>
              <a:gd name="connsiteY4" fmla="*/ 1934575 h 3220638"/>
              <a:gd name="connsiteX0" fmla="*/ 50510 w 3376188"/>
              <a:gd name="connsiteY0" fmla="*/ 1961104 h 3247167"/>
              <a:gd name="connsiteX1" fmla="*/ 798950 w 3376188"/>
              <a:gd name="connsiteY1" fmla="*/ 30536 h 3247167"/>
              <a:gd name="connsiteX2" fmla="*/ 3376188 w 3376188"/>
              <a:gd name="connsiteY2" fmla="*/ 1434162 h 3247167"/>
              <a:gd name="connsiteX3" fmla="*/ 1961322 w 3376188"/>
              <a:gd name="connsiteY3" fmla="*/ 3240742 h 3247167"/>
              <a:gd name="connsiteX4" fmla="*/ 50510 w 3376188"/>
              <a:gd name="connsiteY4" fmla="*/ 1961104 h 3247167"/>
              <a:gd name="connsiteX0" fmla="*/ 50510 w 3376188"/>
              <a:gd name="connsiteY0" fmla="*/ 2048096 h 3334159"/>
              <a:gd name="connsiteX1" fmla="*/ 798950 w 3376188"/>
              <a:gd name="connsiteY1" fmla="*/ 117528 h 3334159"/>
              <a:gd name="connsiteX2" fmla="*/ 3376188 w 3376188"/>
              <a:gd name="connsiteY2" fmla="*/ 1521154 h 3334159"/>
              <a:gd name="connsiteX3" fmla="*/ 1961322 w 3376188"/>
              <a:gd name="connsiteY3" fmla="*/ 3327734 h 3334159"/>
              <a:gd name="connsiteX4" fmla="*/ 50510 w 3376188"/>
              <a:gd name="connsiteY4" fmla="*/ 2048096 h 3334159"/>
              <a:gd name="connsiteX0" fmla="*/ 67692 w 3393370"/>
              <a:gd name="connsiteY0" fmla="*/ 2048096 h 3347554"/>
              <a:gd name="connsiteX1" fmla="*/ 816132 w 3393370"/>
              <a:gd name="connsiteY1" fmla="*/ 117528 h 3347554"/>
              <a:gd name="connsiteX2" fmla="*/ 3393370 w 3393370"/>
              <a:gd name="connsiteY2" fmla="*/ 1521154 h 3347554"/>
              <a:gd name="connsiteX3" fmla="*/ 1978504 w 3393370"/>
              <a:gd name="connsiteY3" fmla="*/ 3327734 h 3347554"/>
              <a:gd name="connsiteX4" fmla="*/ 67692 w 3393370"/>
              <a:gd name="connsiteY4" fmla="*/ 2048096 h 3347554"/>
              <a:gd name="connsiteX0" fmla="*/ 42282 w 3367960"/>
              <a:gd name="connsiteY0" fmla="*/ 2069992 h 3356091"/>
              <a:gd name="connsiteX1" fmla="*/ 852715 w 3367960"/>
              <a:gd name="connsiteY1" fmla="*/ 108427 h 3356091"/>
              <a:gd name="connsiteX2" fmla="*/ 3367960 w 3367960"/>
              <a:gd name="connsiteY2" fmla="*/ 1543050 h 3356091"/>
              <a:gd name="connsiteX3" fmla="*/ 1953094 w 3367960"/>
              <a:gd name="connsiteY3" fmla="*/ 3349630 h 3356091"/>
              <a:gd name="connsiteX4" fmla="*/ 42282 w 3367960"/>
              <a:gd name="connsiteY4" fmla="*/ 2069992 h 3356091"/>
              <a:gd name="connsiteX0" fmla="*/ 66078 w 3391756"/>
              <a:gd name="connsiteY0" fmla="*/ 2173120 h 3459219"/>
              <a:gd name="connsiteX1" fmla="*/ 876511 w 3391756"/>
              <a:gd name="connsiteY1" fmla="*/ 211555 h 3459219"/>
              <a:gd name="connsiteX2" fmla="*/ 3391756 w 3391756"/>
              <a:gd name="connsiteY2" fmla="*/ 1646178 h 3459219"/>
              <a:gd name="connsiteX3" fmla="*/ 1976890 w 3391756"/>
              <a:gd name="connsiteY3" fmla="*/ 3452758 h 3459219"/>
              <a:gd name="connsiteX4" fmla="*/ 66078 w 3391756"/>
              <a:gd name="connsiteY4" fmla="*/ 2173120 h 3459219"/>
              <a:gd name="connsiteX0" fmla="*/ 41431 w 3382607"/>
              <a:gd name="connsiteY0" fmla="*/ 2286358 h 3379130"/>
              <a:gd name="connsiteX1" fmla="*/ 867362 w 3382607"/>
              <a:gd name="connsiteY1" fmla="*/ 123315 h 3379130"/>
              <a:gd name="connsiteX2" fmla="*/ 3382607 w 3382607"/>
              <a:gd name="connsiteY2" fmla="*/ 1557938 h 3379130"/>
              <a:gd name="connsiteX3" fmla="*/ 1967741 w 3382607"/>
              <a:gd name="connsiteY3" fmla="*/ 3364518 h 3379130"/>
              <a:gd name="connsiteX4" fmla="*/ 41431 w 3382607"/>
              <a:gd name="connsiteY4" fmla="*/ 2286358 h 3379130"/>
              <a:gd name="connsiteX0" fmla="*/ 46622 w 3387798"/>
              <a:gd name="connsiteY0" fmla="*/ 2286358 h 3392606"/>
              <a:gd name="connsiteX1" fmla="*/ 872553 w 3387798"/>
              <a:gd name="connsiteY1" fmla="*/ 123315 h 3392606"/>
              <a:gd name="connsiteX2" fmla="*/ 3387798 w 3387798"/>
              <a:gd name="connsiteY2" fmla="*/ 1557938 h 3392606"/>
              <a:gd name="connsiteX3" fmla="*/ 1972932 w 3387798"/>
              <a:gd name="connsiteY3" fmla="*/ 3364518 h 3392606"/>
              <a:gd name="connsiteX4" fmla="*/ 46622 w 3387798"/>
              <a:gd name="connsiteY4" fmla="*/ 2286358 h 3392606"/>
              <a:gd name="connsiteX0" fmla="*/ 34606 w 3375782"/>
              <a:gd name="connsiteY0" fmla="*/ 2286358 h 3379130"/>
              <a:gd name="connsiteX1" fmla="*/ 922530 w 3375782"/>
              <a:gd name="connsiteY1" fmla="*/ 123315 h 3379130"/>
              <a:gd name="connsiteX2" fmla="*/ 3375782 w 3375782"/>
              <a:gd name="connsiteY2" fmla="*/ 1557938 h 3379130"/>
              <a:gd name="connsiteX3" fmla="*/ 1960916 w 3375782"/>
              <a:gd name="connsiteY3" fmla="*/ 3364518 h 3379130"/>
              <a:gd name="connsiteX4" fmla="*/ 34606 w 3375782"/>
              <a:gd name="connsiteY4" fmla="*/ 2286358 h 3379130"/>
              <a:gd name="connsiteX0" fmla="*/ 55999 w 3397175"/>
              <a:gd name="connsiteY0" fmla="*/ 2293230 h 3386002"/>
              <a:gd name="connsiteX1" fmla="*/ 943923 w 3397175"/>
              <a:gd name="connsiteY1" fmla="*/ 130187 h 3386002"/>
              <a:gd name="connsiteX2" fmla="*/ 3397175 w 3397175"/>
              <a:gd name="connsiteY2" fmla="*/ 1564810 h 3386002"/>
              <a:gd name="connsiteX3" fmla="*/ 1982309 w 3397175"/>
              <a:gd name="connsiteY3" fmla="*/ 3371390 h 3386002"/>
              <a:gd name="connsiteX4" fmla="*/ 55999 w 3397175"/>
              <a:gd name="connsiteY4" fmla="*/ 2293230 h 3386002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5999 w 3397175"/>
              <a:gd name="connsiteY0" fmla="*/ 2293230 h 3396598"/>
              <a:gd name="connsiteX1" fmla="*/ 943923 w 3397175"/>
              <a:gd name="connsiteY1" fmla="*/ 130187 h 3396598"/>
              <a:gd name="connsiteX2" fmla="*/ 3397175 w 3397175"/>
              <a:gd name="connsiteY2" fmla="*/ 1564810 h 3396598"/>
              <a:gd name="connsiteX3" fmla="*/ 1982309 w 3397175"/>
              <a:gd name="connsiteY3" fmla="*/ 3371390 h 3396598"/>
              <a:gd name="connsiteX4" fmla="*/ 55999 w 3397175"/>
              <a:gd name="connsiteY4" fmla="*/ 2293230 h 3396598"/>
              <a:gd name="connsiteX0" fmla="*/ 54983 w 3396159"/>
              <a:gd name="connsiteY0" fmla="*/ 2293230 h 3411721"/>
              <a:gd name="connsiteX1" fmla="*/ 942907 w 3396159"/>
              <a:gd name="connsiteY1" fmla="*/ 130187 h 3411721"/>
              <a:gd name="connsiteX2" fmla="*/ 3396159 w 3396159"/>
              <a:gd name="connsiteY2" fmla="*/ 1564810 h 3411721"/>
              <a:gd name="connsiteX3" fmla="*/ 1965795 w 3396159"/>
              <a:gd name="connsiteY3" fmla="*/ 3386888 h 3411721"/>
              <a:gd name="connsiteX4" fmla="*/ 54983 w 3396159"/>
              <a:gd name="connsiteY4" fmla="*/ 2293230 h 3411721"/>
              <a:gd name="connsiteX0" fmla="*/ 54983 w 3396159"/>
              <a:gd name="connsiteY0" fmla="*/ 2293230 h 3395472"/>
              <a:gd name="connsiteX1" fmla="*/ 942907 w 3396159"/>
              <a:gd name="connsiteY1" fmla="*/ 130187 h 3395472"/>
              <a:gd name="connsiteX2" fmla="*/ 3396159 w 3396159"/>
              <a:gd name="connsiteY2" fmla="*/ 1564810 h 3395472"/>
              <a:gd name="connsiteX3" fmla="*/ 1965795 w 3396159"/>
              <a:gd name="connsiteY3" fmla="*/ 3386888 h 3395472"/>
              <a:gd name="connsiteX4" fmla="*/ 54983 w 3396159"/>
              <a:gd name="connsiteY4" fmla="*/ 2293230 h 3395472"/>
              <a:gd name="connsiteX0" fmla="*/ 46923 w 3388099"/>
              <a:gd name="connsiteY0" fmla="*/ 2293230 h 3410821"/>
              <a:gd name="connsiteX1" fmla="*/ 934847 w 3388099"/>
              <a:gd name="connsiteY1" fmla="*/ 130187 h 3410821"/>
              <a:gd name="connsiteX2" fmla="*/ 3388099 w 3388099"/>
              <a:gd name="connsiteY2" fmla="*/ 1564810 h 3410821"/>
              <a:gd name="connsiteX3" fmla="*/ 1833748 w 3388099"/>
              <a:gd name="connsiteY3" fmla="*/ 3402387 h 3410821"/>
              <a:gd name="connsiteX4" fmla="*/ 46923 w 3388099"/>
              <a:gd name="connsiteY4" fmla="*/ 2293230 h 3410821"/>
              <a:gd name="connsiteX0" fmla="*/ 35746 w 3376922"/>
              <a:gd name="connsiteY0" fmla="*/ 2320727 h 3438318"/>
              <a:gd name="connsiteX1" fmla="*/ 923670 w 3376922"/>
              <a:gd name="connsiteY1" fmla="*/ 157684 h 3438318"/>
              <a:gd name="connsiteX2" fmla="*/ 3376922 w 3376922"/>
              <a:gd name="connsiteY2" fmla="*/ 1592307 h 3438318"/>
              <a:gd name="connsiteX3" fmla="*/ 1822571 w 3376922"/>
              <a:gd name="connsiteY3" fmla="*/ 3429884 h 3438318"/>
              <a:gd name="connsiteX4" fmla="*/ 35746 w 3376922"/>
              <a:gd name="connsiteY4" fmla="*/ 2320727 h 3438318"/>
              <a:gd name="connsiteX0" fmla="*/ 48481 w 3389657"/>
              <a:gd name="connsiteY0" fmla="*/ 2320727 h 3438318"/>
              <a:gd name="connsiteX1" fmla="*/ 936405 w 3389657"/>
              <a:gd name="connsiteY1" fmla="*/ 157684 h 3438318"/>
              <a:gd name="connsiteX2" fmla="*/ 3389657 w 3389657"/>
              <a:gd name="connsiteY2" fmla="*/ 1592307 h 3438318"/>
              <a:gd name="connsiteX3" fmla="*/ 1835306 w 3389657"/>
              <a:gd name="connsiteY3" fmla="*/ 3429884 h 3438318"/>
              <a:gd name="connsiteX4" fmla="*/ 48481 w 3389657"/>
              <a:gd name="connsiteY4" fmla="*/ 2320727 h 3438318"/>
              <a:gd name="connsiteX0" fmla="*/ 43454 w 3384630"/>
              <a:gd name="connsiteY0" fmla="*/ 2320727 h 16896762"/>
              <a:gd name="connsiteX1" fmla="*/ 931378 w 3384630"/>
              <a:gd name="connsiteY1" fmla="*/ 157684 h 16896762"/>
              <a:gd name="connsiteX2" fmla="*/ 3384630 w 3384630"/>
              <a:gd name="connsiteY2" fmla="*/ 1592307 h 16896762"/>
              <a:gd name="connsiteX3" fmla="*/ 1752788 w 3384630"/>
              <a:gd name="connsiteY3" fmla="*/ 16896251 h 16896762"/>
              <a:gd name="connsiteX4" fmla="*/ 43454 w 3384630"/>
              <a:gd name="connsiteY4" fmla="*/ 2320727 h 16896762"/>
              <a:gd name="connsiteX0" fmla="*/ 24243 w 3396416"/>
              <a:gd name="connsiteY0" fmla="*/ 2636095 h 17284134"/>
              <a:gd name="connsiteX1" fmla="*/ 912167 w 3396416"/>
              <a:gd name="connsiteY1" fmla="*/ 473052 h 17284134"/>
              <a:gd name="connsiteX2" fmla="*/ 3396416 w 3396416"/>
              <a:gd name="connsiteY2" fmla="*/ 8217630 h 17284134"/>
              <a:gd name="connsiteX3" fmla="*/ 1733577 w 3396416"/>
              <a:gd name="connsiteY3" fmla="*/ 17211619 h 17284134"/>
              <a:gd name="connsiteX4" fmla="*/ 24243 w 3396416"/>
              <a:gd name="connsiteY4" fmla="*/ 2636095 h 17284134"/>
              <a:gd name="connsiteX0" fmla="*/ 25326 w 3366502"/>
              <a:gd name="connsiteY0" fmla="*/ 10028716 h 16778518"/>
              <a:gd name="connsiteX1" fmla="*/ 882253 w 3366502"/>
              <a:gd name="connsiteY1" fmla="*/ 16705 h 16778518"/>
              <a:gd name="connsiteX2" fmla="*/ 3366502 w 3366502"/>
              <a:gd name="connsiteY2" fmla="*/ 7761283 h 16778518"/>
              <a:gd name="connsiteX3" fmla="*/ 1703663 w 3366502"/>
              <a:gd name="connsiteY3" fmla="*/ 16755272 h 16778518"/>
              <a:gd name="connsiteX4" fmla="*/ 25326 w 3366502"/>
              <a:gd name="connsiteY4" fmla="*/ 10028716 h 16778518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5326 w 3366502"/>
              <a:gd name="connsiteY0" fmla="*/ 10170321 h 16920123"/>
              <a:gd name="connsiteX1" fmla="*/ 882253 w 3366502"/>
              <a:gd name="connsiteY1" fmla="*/ 158310 h 16920123"/>
              <a:gd name="connsiteX2" fmla="*/ 3366502 w 3366502"/>
              <a:gd name="connsiteY2" fmla="*/ 7902888 h 16920123"/>
              <a:gd name="connsiteX3" fmla="*/ 1703663 w 3366502"/>
              <a:gd name="connsiteY3" fmla="*/ 16896877 h 16920123"/>
              <a:gd name="connsiteX4" fmla="*/ 25326 w 3366502"/>
              <a:gd name="connsiteY4" fmla="*/ 10170321 h 16920123"/>
              <a:gd name="connsiteX0" fmla="*/ 27134 w 3321815"/>
              <a:gd name="connsiteY0" fmla="*/ 11893866 h 17094294"/>
              <a:gd name="connsiteX1" fmla="*/ 837566 w 3321815"/>
              <a:gd name="connsiteY1" fmla="*/ 265889 h 17094294"/>
              <a:gd name="connsiteX2" fmla="*/ 3321815 w 3321815"/>
              <a:gd name="connsiteY2" fmla="*/ 8010467 h 17094294"/>
              <a:gd name="connsiteX3" fmla="*/ 1658976 w 3321815"/>
              <a:gd name="connsiteY3" fmla="*/ 17004456 h 17094294"/>
              <a:gd name="connsiteX4" fmla="*/ 27134 w 3321815"/>
              <a:gd name="connsiteY4" fmla="*/ 11893866 h 17094294"/>
              <a:gd name="connsiteX0" fmla="*/ 128797 w 3423478"/>
              <a:gd name="connsiteY0" fmla="*/ 11893866 h 17190359"/>
              <a:gd name="connsiteX1" fmla="*/ 939229 w 3423478"/>
              <a:gd name="connsiteY1" fmla="*/ 265889 h 17190359"/>
              <a:gd name="connsiteX2" fmla="*/ 3423478 w 3423478"/>
              <a:gd name="connsiteY2" fmla="*/ 8010467 h 17190359"/>
              <a:gd name="connsiteX3" fmla="*/ 1760639 w 3423478"/>
              <a:gd name="connsiteY3" fmla="*/ 17004456 h 17190359"/>
              <a:gd name="connsiteX4" fmla="*/ 128797 w 3423478"/>
              <a:gd name="connsiteY4" fmla="*/ 11893866 h 17190359"/>
              <a:gd name="connsiteX0" fmla="*/ 27134 w 3321815"/>
              <a:gd name="connsiteY0" fmla="*/ 11311673 h 16509395"/>
              <a:gd name="connsiteX1" fmla="*/ 837566 w 3321815"/>
              <a:gd name="connsiteY1" fmla="*/ 376250 h 16509395"/>
              <a:gd name="connsiteX2" fmla="*/ 3321815 w 3321815"/>
              <a:gd name="connsiteY2" fmla="*/ 7428274 h 16509395"/>
              <a:gd name="connsiteX3" fmla="*/ 1658976 w 3321815"/>
              <a:gd name="connsiteY3" fmla="*/ 16422263 h 16509395"/>
              <a:gd name="connsiteX4" fmla="*/ 27134 w 3321815"/>
              <a:gd name="connsiteY4" fmla="*/ 11311673 h 16509395"/>
              <a:gd name="connsiteX0" fmla="*/ 27134 w 3321815"/>
              <a:gd name="connsiteY0" fmla="*/ 11648471 h 16846193"/>
              <a:gd name="connsiteX1" fmla="*/ 837566 w 3321815"/>
              <a:gd name="connsiteY1" fmla="*/ 713048 h 16846193"/>
              <a:gd name="connsiteX2" fmla="*/ 3321815 w 3321815"/>
              <a:gd name="connsiteY2" fmla="*/ 7765072 h 16846193"/>
              <a:gd name="connsiteX3" fmla="*/ 1658976 w 3321815"/>
              <a:gd name="connsiteY3" fmla="*/ 16759061 h 16846193"/>
              <a:gd name="connsiteX4" fmla="*/ 27134 w 3321815"/>
              <a:gd name="connsiteY4" fmla="*/ 11648471 h 16846193"/>
              <a:gd name="connsiteX0" fmla="*/ 74052 w 3368733"/>
              <a:gd name="connsiteY0" fmla="*/ 11580901 h 16778623"/>
              <a:gd name="connsiteX1" fmla="*/ 884484 w 3368733"/>
              <a:gd name="connsiteY1" fmla="*/ 645478 h 16778623"/>
              <a:gd name="connsiteX2" fmla="*/ 3368733 w 3368733"/>
              <a:gd name="connsiteY2" fmla="*/ 7697502 h 16778623"/>
              <a:gd name="connsiteX3" fmla="*/ 1705894 w 3368733"/>
              <a:gd name="connsiteY3" fmla="*/ 16691491 h 16778623"/>
              <a:gd name="connsiteX4" fmla="*/ 74052 w 3368733"/>
              <a:gd name="connsiteY4" fmla="*/ 11580901 h 16778623"/>
              <a:gd name="connsiteX0" fmla="*/ 75761 w 3370442"/>
              <a:gd name="connsiteY0" fmla="*/ 20984620 h 253093079"/>
              <a:gd name="connsiteX1" fmla="*/ 886193 w 3370442"/>
              <a:gd name="connsiteY1" fmla="*/ 10049197 h 253093079"/>
              <a:gd name="connsiteX2" fmla="*/ 3370442 w 3370442"/>
              <a:gd name="connsiteY2" fmla="*/ 17101221 h 253093079"/>
              <a:gd name="connsiteX3" fmla="*/ 1730879 w 3370442"/>
              <a:gd name="connsiteY3" fmla="*/ 253091444 h 253093079"/>
              <a:gd name="connsiteX4" fmla="*/ 75761 w 3370442"/>
              <a:gd name="connsiteY4" fmla="*/ 20984620 h 253093079"/>
              <a:gd name="connsiteX0" fmla="*/ 28003 w 3283892"/>
              <a:gd name="connsiteY0" fmla="*/ 27772973 h 261775230"/>
              <a:gd name="connsiteX1" fmla="*/ 838435 w 3283892"/>
              <a:gd name="connsiteY1" fmla="*/ 16837550 h 261775230"/>
              <a:gd name="connsiteX2" fmla="*/ 3283892 w 3283892"/>
              <a:gd name="connsiteY2" fmla="*/ 141612174 h 261775230"/>
              <a:gd name="connsiteX3" fmla="*/ 1683121 w 3283892"/>
              <a:gd name="connsiteY3" fmla="*/ 259879797 h 261775230"/>
              <a:gd name="connsiteX4" fmla="*/ 28003 w 3283892"/>
              <a:gd name="connsiteY4" fmla="*/ 27772973 h 261775230"/>
              <a:gd name="connsiteX0" fmla="*/ 30852 w 3224674"/>
              <a:gd name="connsiteY0" fmla="*/ 94606698 h 243512657"/>
              <a:gd name="connsiteX1" fmla="*/ 779217 w 3224674"/>
              <a:gd name="connsiteY1" fmla="*/ 307918 h 243512657"/>
              <a:gd name="connsiteX2" fmla="*/ 3224674 w 3224674"/>
              <a:gd name="connsiteY2" fmla="*/ 125082542 h 243512657"/>
              <a:gd name="connsiteX3" fmla="*/ 1623903 w 3224674"/>
              <a:gd name="connsiteY3" fmla="*/ 243350165 h 243512657"/>
              <a:gd name="connsiteX4" fmla="*/ 30852 w 3224674"/>
              <a:gd name="connsiteY4" fmla="*/ 94606698 h 243512657"/>
              <a:gd name="connsiteX0" fmla="*/ 30852 w 3224674"/>
              <a:gd name="connsiteY0" fmla="*/ 94606698 h 243512657"/>
              <a:gd name="connsiteX1" fmla="*/ 779217 w 3224674"/>
              <a:gd name="connsiteY1" fmla="*/ 307918 h 243512657"/>
              <a:gd name="connsiteX2" fmla="*/ 3224674 w 3224674"/>
              <a:gd name="connsiteY2" fmla="*/ 125082542 h 243512657"/>
              <a:gd name="connsiteX3" fmla="*/ 1623903 w 3224674"/>
              <a:gd name="connsiteY3" fmla="*/ 243350165 h 243512657"/>
              <a:gd name="connsiteX4" fmla="*/ 30852 w 3224674"/>
              <a:gd name="connsiteY4" fmla="*/ 94606698 h 243512657"/>
              <a:gd name="connsiteX0" fmla="*/ 30852 w 3230809"/>
              <a:gd name="connsiteY0" fmla="*/ 94606698 h 244242257"/>
              <a:gd name="connsiteX1" fmla="*/ 779217 w 3230809"/>
              <a:gd name="connsiteY1" fmla="*/ 307918 h 244242257"/>
              <a:gd name="connsiteX2" fmla="*/ 3224674 w 3230809"/>
              <a:gd name="connsiteY2" fmla="*/ 125082542 h 244242257"/>
              <a:gd name="connsiteX3" fmla="*/ 1623903 w 3230809"/>
              <a:gd name="connsiteY3" fmla="*/ 243350165 h 244242257"/>
              <a:gd name="connsiteX4" fmla="*/ 30852 w 3230809"/>
              <a:gd name="connsiteY4" fmla="*/ 94606698 h 244242257"/>
              <a:gd name="connsiteX0" fmla="*/ 23127 w 3424970"/>
              <a:gd name="connsiteY0" fmla="*/ 134302034 h 245321774"/>
              <a:gd name="connsiteX1" fmla="*/ 973211 w 3424970"/>
              <a:gd name="connsiteY1" fmla="*/ 2264409 h 245321774"/>
              <a:gd name="connsiteX2" fmla="*/ 3418668 w 3424970"/>
              <a:gd name="connsiteY2" fmla="*/ 127039033 h 245321774"/>
              <a:gd name="connsiteX3" fmla="*/ 1817897 w 3424970"/>
              <a:gd name="connsiteY3" fmla="*/ 245306656 h 245321774"/>
              <a:gd name="connsiteX4" fmla="*/ 23127 w 3424970"/>
              <a:gd name="connsiteY4" fmla="*/ 134302034 h 245321774"/>
              <a:gd name="connsiteX0" fmla="*/ 25203 w 3427046"/>
              <a:gd name="connsiteY0" fmla="*/ 134302034 h 245564332"/>
              <a:gd name="connsiteX1" fmla="*/ 975287 w 3427046"/>
              <a:gd name="connsiteY1" fmla="*/ 2264409 h 245564332"/>
              <a:gd name="connsiteX2" fmla="*/ 3420744 w 3427046"/>
              <a:gd name="connsiteY2" fmla="*/ 127039033 h 245564332"/>
              <a:gd name="connsiteX3" fmla="*/ 1819973 w 3427046"/>
              <a:gd name="connsiteY3" fmla="*/ 245306656 h 245564332"/>
              <a:gd name="connsiteX4" fmla="*/ 25203 w 3427046"/>
              <a:gd name="connsiteY4" fmla="*/ 134302034 h 245564332"/>
              <a:gd name="connsiteX0" fmla="*/ 17233 w 3419076"/>
              <a:gd name="connsiteY0" fmla="*/ 134302034 h 245334749"/>
              <a:gd name="connsiteX1" fmla="*/ 967317 w 3419076"/>
              <a:gd name="connsiteY1" fmla="*/ 2264409 h 245334749"/>
              <a:gd name="connsiteX2" fmla="*/ 3412774 w 3419076"/>
              <a:gd name="connsiteY2" fmla="*/ 127039033 h 245334749"/>
              <a:gd name="connsiteX3" fmla="*/ 1812003 w 3419076"/>
              <a:gd name="connsiteY3" fmla="*/ 245306656 h 245334749"/>
              <a:gd name="connsiteX4" fmla="*/ 17233 w 3419076"/>
              <a:gd name="connsiteY4" fmla="*/ 134302034 h 245334749"/>
              <a:gd name="connsiteX0" fmla="*/ 5597 w 3407440"/>
              <a:gd name="connsiteY0" fmla="*/ 135242609 h 246262386"/>
              <a:gd name="connsiteX1" fmla="*/ 1312568 w 3407440"/>
              <a:gd name="connsiteY1" fmla="*/ 2078460 h 246262386"/>
              <a:gd name="connsiteX2" fmla="*/ 3401138 w 3407440"/>
              <a:gd name="connsiteY2" fmla="*/ 127979608 h 246262386"/>
              <a:gd name="connsiteX3" fmla="*/ 1800367 w 3407440"/>
              <a:gd name="connsiteY3" fmla="*/ 246247231 h 246262386"/>
              <a:gd name="connsiteX4" fmla="*/ 5597 w 3407440"/>
              <a:gd name="connsiteY4" fmla="*/ 135242609 h 246262386"/>
              <a:gd name="connsiteX0" fmla="*/ 1128 w 3402971"/>
              <a:gd name="connsiteY0" fmla="*/ 135242609 h 246282484"/>
              <a:gd name="connsiteX1" fmla="*/ 1308099 w 3402971"/>
              <a:gd name="connsiteY1" fmla="*/ 2078460 h 246282484"/>
              <a:gd name="connsiteX2" fmla="*/ 3396669 w 3402971"/>
              <a:gd name="connsiteY2" fmla="*/ 127979608 h 246282484"/>
              <a:gd name="connsiteX3" fmla="*/ 1795898 w 3402971"/>
              <a:gd name="connsiteY3" fmla="*/ 246247231 h 246282484"/>
              <a:gd name="connsiteX4" fmla="*/ 1128 w 3402971"/>
              <a:gd name="connsiteY4" fmla="*/ 135242609 h 246282484"/>
              <a:gd name="connsiteX0" fmla="*/ 1128 w 3402971"/>
              <a:gd name="connsiteY0" fmla="*/ 133490151 h 244530026"/>
              <a:gd name="connsiteX1" fmla="*/ 1308099 w 3402971"/>
              <a:gd name="connsiteY1" fmla="*/ 326002 h 244530026"/>
              <a:gd name="connsiteX2" fmla="*/ 3396669 w 3402971"/>
              <a:gd name="connsiteY2" fmla="*/ 126227150 h 244530026"/>
              <a:gd name="connsiteX3" fmla="*/ 1795898 w 3402971"/>
              <a:gd name="connsiteY3" fmla="*/ 244494773 h 244530026"/>
              <a:gd name="connsiteX4" fmla="*/ 1128 w 3402971"/>
              <a:gd name="connsiteY4" fmla="*/ 133490151 h 244530026"/>
              <a:gd name="connsiteX0" fmla="*/ 1128 w 3396669"/>
              <a:gd name="connsiteY0" fmla="*/ 133490151 h 244530026"/>
              <a:gd name="connsiteX1" fmla="*/ 1308099 w 3396669"/>
              <a:gd name="connsiteY1" fmla="*/ 326002 h 244530026"/>
              <a:gd name="connsiteX2" fmla="*/ 3396669 w 3396669"/>
              <a:gd name="connsiteY2" fmla="*/ 126227150 h 244530026"/>
              <a:gd name="connsiteX3" fmla="*/ 1795898 w 3396669"/>
              <a:gd name="connsiteY3" fmla="*/ 244494773 h 244530026"/>
              <a:gd name="connsiteX4" fmla="*/ 1128 w 3396669"/>
              <a:gd name="connsiteY4" fmla="*/ 133490151 h 244530026"/>
              <a:gd name="connsiteX0" fmla="*/ 4352 w 3399893"/>
              <a:gd name="connsiteY0" fmla="*/ 133490151 h 246199438"/>
              <a:gd name="connsiteX1" fmla="*/ 1311323 w 3399893"/>
              <a:gd name="connsiteY1" fmla="*/ 326002 h 246199438"/>
              <a:gd name="connsiteX2" fmla="*/ 3399893 w 3399893"/>
              <a:gd name="connsiteY2" fmla="*/ 126227150 h 246199438"/>
              <a:gd name="connsiteX3" fmla="*/ 1737055 w 3399893"/>
              <a:gd name="connsiteY3" fmla="*/ 246184574 h 246199438"/>
              <a:gd name="connsiteX4" fmla="*/ 4352 w 3399893"/>
              <a:gd name="connsiteY4" fmla="*/ 133490151 h 246199438"/>
              <a:gd name="connsiteX0" fmla="*/ 4352 w 3399893"/>
              <a:gd name="connsiteY0" fmla="*/ 133490151 h 246338925"/>
              <a:gd name="connsiteX1" fmla="*/ 1311323 w 3399893"/>
              <a:gd name="connsiteY1" fmla="*/ 326002 h 246338925"/>
              <a:gd name="connsiteX2" fmla="*/ 3399893 w 3399893"/>
              <a:gd name="connsiteY2" fmla="*/ 126227150 h 246338925"/>
              <a:gd name="connsiteX3" fmla="*/ 1737055 w 3399893"/>
              <a:gd name="connsiteY3" fmla="*/ 246184574 h 246338925"/>
              <a:gd name="connsiteX4" fmla="*/ 4352 w 3399893"/>
              <a:gd name="connsiteY4" fmla="*/ 133490151 h 246338925"/>
              <a:gd name="connsiteX0" fmla="*/ 3509 w 3399050"/>
              <a:gd name="connsiteY0" fmla="*/ 133490151 h 246441087"/>
              <a:gd name="connsiteX1" fmla="*/ 1310480 w 3399050"/>
              <a:gd name="connsiteY1" fmla="*/ 326002 h 246441087"/>
              <a:gd name="connsiteX2" fmla="*/ 3399050 w 3399050"/>
              <a:gd name="connsiteY2" fmla="*/ 126227150 h 246441087"/>
              <a:gd name="connsiteX3" fmla="*/ 1736212 w 3399050"/>
              <a:gd name="connsiteY3" fmla="*/ 246184574 h 246441087"/>
              <a:gd name="connsiteX4" fmla="*/ 3509 w 3399050"/>
              <a:gd name="connsiteY4" fmla="*/ 133490151 h 246441087"/>
              <a:gd name="connsiteX0" fmla="*/ 5273 w 3400814"/>
              <a:gd name="connsiteY0" fmla="*/ 133490151 h 246407760"/>
              <a:gd name="connsiteX1" fmla="*/ 1312244 w 3400814"/>
              <a:gd name="connsiteY1" fmla="*/ 326002 h 246407760"/>
              <a:gd name="connsiteX2" fmla="*/ 3400814 w 3400814"/>
              <a:gd name="connsiteY2" fmla="*/ 126227150 h 246407760"/>
              <a:gd name="connsiteX3" fmla="*/ 1737976 w 3400814"/>
              <a:gd name="connsiteY3" fmla="*/ 246184574 h 246407760"/>
              <a:gd name="connsiteX4" fmla="*/ 5273 w 3400814"/>
              <a:gd name="connsiteY4" fmla="*/ 133490151 h 246407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0814" h="246407760">
                <a:moveTo>
                  <a:pt x="5273" y="133490151"/>
                </a:moveTo>
                <a:cubicBezTo>
                  <a:pt x="-73441" y="67730044"/>
                  <a:pt x="746321" y="1536502"/>
                  <a:pt x="1312244" y="326002"/>
                </a:cubicBezTo>
                <a:cubicBezTo>
                  <a:pt x="1878168" y="-884498"/>
                  <a:pt x="3129825" y="-5088484"/>
                  <a:pt x="3400814" y="126227150"/>
                </a:cubicBezTo>
                <a:cubicBezTo>
                  <a:pt x="3400851" y="220675608"/>
                  <a:pt x="2730613" y="242157763"/>
                  <a:pt x="1737976" y="246184574"/>
                </a:cubicBezTo>
                <a:cubicBezTo>
                  <a:pt x="745339" y="250211385"/>
                  <a:pt x="83987" y="199250258"/>
                  <a:pt x="5273" y="133490151"/>
                </a:cubicBezTo>
                <a:close/>
              </a:path>
            </a:pathLst>
          </a:custGeom>
          <a:pattFill prst="pct60">
            <a:fgClr>
              <a:srgbClr val="FFDD00"/>
            </a:fgClr>
            <a:bgClr>
              <a:srgbClr val="1C7862"/>
            </a:bgClr>
          </a:pattFill>
        </p:spPr>
        <p:txBody>
          <a:bodyPr/>
          <a:lstStyle>
            <a:lvl1pPr marL="0" marR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13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marL="0" marR="0" lvl="0" indent="0" algn="l" defTabSz="6172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quez sur l'icône pour ajouter une image</a:t>
            </a:r>
          </a:p>
          <a:p>
            <a:pPr marL="0" algn="l" rtl="0"/>
            <a:endParaRPr lang="fr-FR"/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E8C9B71F-E407-4634-8CB1-D7040C5D20B4}"/>
              </a:ext>
            </a:extLst>
          </p:cNvPr>
          <p:cNvSpPr/>
          <p:nvPr userDrawn="1"/>
        </p:nvSpPr>
        <p:spPr>
          <a:xfrm>
            <a:off x="333375" y="3962209"/>
            <a:ext cx="66675" cy="1061276"/>
          </a:xfrm>
          <a:custGeom>
            <a:avLst/>
            <a:gdLst/>
            <a:ahLst/>
            <a:cxnLst/>
            <a:rect l="l" t="t" r="r" b="b"/>
            <a:pathLst>
              <a:path w="88900" h="1572259">
                <a:moveTo>
                  <a:pt x="44450" y="0"/>
                </a:moveTo>
                <a:lnTo>
                  <a:pt x="27148" y="3901"/>
                </a:lnTo>
                <a:lnTo>
                  <a:pt x="13019" y="13800"/>
                </a:lnTo>
                <a:lnTo>
                  <a:pt x="3493" y="26987"/>
                </a:lnTo>
                <a:lnTo>
                  <a:pt x="0" y="40754"/>
                </a:lnTo>
                <a:lnTo>
                  <a:pt x="0" y="1531480"/>
                </a:lnTo>
                <a:lnTo>
                  <a:pt x="3493" y="1545247"/>
                </a:lnTo>
                <a:lnTo>
                  <a:pt x="13019" y="1558434"/>
                </a:lnTo>
                <a:lnTo>
                  <a:pt x="27148" y="1568333"/>
                </a:lnTo>
                <a:lnTo>
                  <a:pt x="44450" y="1572234"/>
                </a:lnTo>
                <a:lnTo>
                  <a:pt x="61751" y="1568333"/>
                </a:lnTo>
                <a:lnTo>
                  <a:pt x="75880" y="1558434"/>
                </a:lnTo>
                <a:lnTo>
                  <a:pt x="85406" y="1545247"/>
                </a:lnTo>
                <a:lnTo>
                  <a:pt x="88900" y="1531480"/>
                </a:lnTo>
                <a:lnTo>
                  <a:pt x="88900" y="40754"/>
                </a:lnTo>
                <a:lnTo>
                  <a:pt x="85406" y="26987"/>
                </a:lnTo>
                <a:lnTo>
                  <a:pt x="75880" y="13800"/>
                </a:lnTo>
                <a:lnTo>
                  <a:pt x="61751" y="3901"/>
                </a:lnTo>
                <a:lnTo>
                  <a:pt x="4445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1215">
              <a:solidFill>
                <a:schemeClr val="tx1"/>
              </a:solidFill>
            </a:endParaRPr>
          </a:p>
        </p:txBody>
      </p:sp>
      <p:sp>
        <p:nvSpPr>
          <p:cNvPr id="15" name="Espace réservé du texte 20">
            <a:extLst>
              <a:ext uri="{FF2B5EF4-FFF2-40B4-BE49-F238E27FC236}">
                <a16:creationId xmlns:a16="http://schemas.microsoft.com/office/drawing/2014/main" id="{A49C51CE-26B3-434C-ADD6-92AF9FD3F9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741" y="4013645"/>
            <a:ext cx="5047059" cy="934872"/>
          </a:xfrm>
        </p:spPr>
        <p:txBody>
          <a:bodyPr/>
          <a:lstStyle>
            <a:lvl1pPr>
              <a:lnSpc>
                <a:spcPct val="100000"/>
              </a:lnSpc>
              <a:defRPr sz="2025" b="1">
                <a:solidFill>
                  <a:schemeClr val="tx1"/>
                </a:solidFill>
                <a:latin typeface="Montserrat" pitchFamily="2" charset="77"/>
              </a:defRPr>
            </a:lvl1pPr>
            <a:lvl2pPr>
              <a:lnSpc>
                <a:spcPct val="150000"/>
              </a:lnSpc>
              <a:defRPr sz="2025" b="1">
                <a:latin typeface="Montserrat" pitchFamily="2" charset="77"/>
              </a:defRPr>
            </a:lvl2pPr>
            <a:lvl3pPr>
              <a:lnSpc>
                <a:spcPct val="150000"/>
              </a:lnSpc>
              <a:defRPr sz="2025" b="1">
                <a:latin typeface="Montserrat" pitchFamily="2" charset="77"/>
              </a:defRPr>
            </a:lvl3pPr>
            <a:lvl4pPr>
              <a:lnSpc>
                <a:spcPct val="150000"/>
              </a:lnSpc>
              <a:defRPr sz="2025" b="1">
                <a:latin typeface="Montserrat" pitchFamily="2" charset="77"/>
              </a:defRPr>
            </a:lvl4pPr>
            <a:lvl5pPr>
              <a:lnSpc>
                <a:spcPct val="150000"/>
              </a:lnSpc>
              <a:defRPr sz="2025" b="1">
                <a:latin typeface="Montserrat" pitchFamily="2" charset="77"/>
              </a:defRPr>
            </a:lvl5pPr>
          </a:lstStyle>
          <a:p>
            <a:pPr lvl="0"/>
            <a:r>
              <a:rPr lang="fr-FR"/>
              <a:t>Cliquez pour modifier le texte sur 3 lignes maximum / Typo : Montserrat Bold / Corps : 30 pt</a:t>
            </a:r>
          </a:p>
        </p:txBody>
      </p:sp>
    </p:spTree>
    <p:extLst>
      <p:ext uri="{BB962C8B-B14F-4D97-AF65-F5344CB8AC3E}">
        <p14:creationId xmlns:p14="http://schemas.microsoft.com/office/powerpoint/2010/main" val="1516777028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roj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7" name="Espace réservé pour une image  15">
            <a:extLst>
              <a:ext uri="{FF2B5EF4-FFF2-40B4-BE49-F238E27FC236}">
                <a16:creationId xmlns:a16="http://schemas.microsoft.com/office/drawing/2014/main" id="{C7CF4D02-65A9-0543-90C6-B3EE629216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66506" y="1531340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19" name="Espace réservé pour une image  15">
            <a:extLst>
              <a:ext uri="{FF2B5EF4-FFF2-40B4-BE49-F238E27FC236}">
                <a16:creationId xmlns:a16="http://schemas.microsoft.com/office/drawing/2014/main" id="{9776DB0A-86B1-1C4E-9AF2-AEF1FABDBF2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66506" y="3647942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21" name="Espace réservé pour une image  15">
            <a:extLst>
              <a:ext uri="{FF2B5EF4-FFF2-40B4-BE49-F238E27FC236}">
                <a16:creationId xmlns:a16="http://schemas.microsoft.com/office/drawing/2014/main" id="{4A86393A-6F71-0941-9D7D-BD4A71CB44B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7706" y="1531340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498F1665-E329-8347-8E7E-6B8B9FEE51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7706" y="3647942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178BF8F-CEB5-3541-B9C0-C64C4EA943A8}"/>
              </a:ext>
            </a:extLst>
          </p:cNvPr>
          <p:cNvSpPr/>
          <p:nvPr userDrawn="1"/>
        </p:nvSpPr>
        <p:spPr>
          <a:xfrm>
            <a:off x="3826393" y="1530697"/>
            <a:ext cx="2175986" cy="1957745"/>
          </a:xfrm>
          <a:prstGeom prst="rect">
            <a:avLst/>
          </a:prstGeom>
          <a:solidFill>
            <a:srgbClr val="00B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6BEC682-8FAF-E041-B61D-21EF79F0E572}"/>
              </a:ext>
            </a:extLst>
          </p:cNvPr>
          <p:cNvSpPr/>
          <p:nvPr userDrawn="1"/>
        </p:nvSpPr>
        <p:spPr>
          <a:xfrm>
            <a:off x="3826393" y="3647941"/>
            <a:ext cx="2175986" cy="1957745"/>
          </a:xfrm>
          <a:prstGeom prst="rect">
            <a:avLst/>
          </a:prstGeom>
          <a:solidFill>
            <a:srgbClr val="FF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0D1AC6B-4440-A64C-A848-F5CB1F226049}"/>
              </a:ext>
            </a:extLst>
          </p:cNvPr>
          <p:cNvSpPr/>
          <p:nvPr userDrawn="1"/>
        </p:nvSpPr>
        <p:spPr>
          <a:xfrm>
            <a:off x="8549021" y="1530697"/>
            <a:ext cx="2175986" cy="1957745"/>
          </a:xfrm>
          <a:prstGeom prst="rect">
            <a:avLst/>
          </a:prstGeom>
          <a:solidFill>
            <a:srgbClr val="1C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27A687E-7939-1843-B3A4-77BF2429846F}"/>
              </a:ext>
            </a:extLst>
          </p:cNvPr>
          <p:cNvSpPr/>
          <p:nvPr userDrawn="1"/>
        </p:nvSpPr>
        <p:spPr>
          <a:xfrm>
            <a:off x="8549021" y="3647941"/>
            <a:ext cx="2175986" cy="1957745"/>
          </a:xfrm>
          <a:prstGeom prst="rect">
            <a:avLst/>
          </a:prstGeom>
          <a:solidFill>
            <a:srgbClr val="00C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9" name="Espace réservé du texte 48">
            <a:extLst>
              <a:ext uri="{FF2B5EF4-FFF2-40B4-BE49-F238E27FC236}">
                <a16:creationId xmlns:a16="http://schemas.microsoft.com/office/drawing/2014/main" id="{3AA85E8E-6436-0B45-B863-045AB034E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3564" y="1825608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0" name="Espace réservé du texte 48">
            <a:extLst>
              <a:ext uri="{FF2B5EF4-FFF2-40B4-BE49-F238E27FC236}">
                <a16:creationId xmlns:a16="http://schemas.microsoft.com/office/drawing/2014/main" id="{5D8BBA0A-6608-B049-B832-B2CBEA1DAC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53563" y="2143125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1" name="Espace réservé du texte 48">
            <a:extLst>
              <a:ext uri="{FF2B5EF4-FFF2-40B4-BE49-F238E27FC236}">
                <a16:creationId xmlns:a16="http://schemas.microsoft.com/office/drawing/2014/main" id="{99EDD00A-623C-D94C-9AE4-7DF65C685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78240" y="1825608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2" name="Espace réservé du texte 48">
            <a:extLst>
              <a:ext uri="{FF2B5EF4-FFF2-40B4-BE49-F238E27FC236}">
                <a16:creationId xmlns:a16="http://schemas.microsoft.com/office/drawing/2014/main" id="{4FAF97D5-AB54-E74E-B685-4562EF22B4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8240" y="2143125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3" name="Espace réservé du texte 48">
            <a:extLst>
              <a:ext uri="{FF2B5EF4-FFF2-40B4-BE49-F238E27FC236}">
                <a16:creationId xmlns:a16="http://schemas.microsoft.com/office/drawing/2014/main" id="{ACFE4DE5-DFE7-AD49-991B-B025A0C03F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78240" y="3942852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4" name="Espace réservé du texte 48">
            <a:extLst>
              <a:ext uri="{FF2B5EF4-FFF2-40B4-BE49-F238E27FC236}">
                <a16:creationId xmlns:a16="http://schemas.microsoft.com/office/drawing/2014/main" id="{E26F2836-7666-6643-8D97-D2529C243A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78239" y="4251960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5" name="Espace réservé du texte 48">
            <a:extLst>
              <a:ext uri="{FF2B5EF4-FFF2-40B4-BE49-F238E27FC236}">
                <a16:creationId xmlns:a16="http://schemas.microsoft.com/office/drawing/2014/main" id="{BB9D17CA-D4E8-5646-B1DD-AB9B0AD479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53563" y="3942727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6" name="Espace réservé du texte 48">
            <a:extLst>
              <a:ext uri="{FF2B5EF4-FFF2-40B4-BE49-F238E27FC236}">
                <a16:creationId xmlns:a16="http://schemas.microsoft.com/office/drawing/2014/main" id="{6C4C257B-E9E9-2E4A-B8ED-A76485E592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53562" y="4244426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rgbClr val="FFDD00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51031"/>
          </a:xfrm>
        </p:spPr>
        <p:txBody>
          <a:bodyPr/>
          <a:lstStyle>
            <a:lvl1pPr algn="l"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algn="r">
              <a:defRPr sz="945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marL="8573" marR="0" lvl="0" indent="0" algn="r" defTabSz="61722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691A5CFC-5E16-43C4-8CF8-07D2B305617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70401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Proj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DD9A179F-6426-134D-B175-D11B49B5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7" name="Espace réservé pour une image  15">
            <a:extLst>
              <a:ext uri="{FF2B5EF4-FFF2-40B4-BE49-F238E27FC236}">
                <a16:creationId xmlns:a16="http://schemas.microsoft.com/office/drawing/2014/main" id="{C7CF4D02-65A9-0543-90C6-B3EE629216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66506" y="1531340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19" name="Espace réservé pour une image  15">
            <a:extLst>
              <a:ext uri="{FF2B5EF4-FFF2-40B4-BE49-F238E27FC236}">
                <a16:creationId xmlns:a16="http://schemas.microsoft.com/office/drawing/2014/main" id="{9776DB0A-86B1-1C4E-9AF2-AEF1FABDBF2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66506" y="3647942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21" name="Espace réservé pour une image  15">
            <a:extLst>
              <a:ext uri="{FF2B5EF4-FFF2-40B4-BE49-F238E27FC236}">
                <a16:creationId xmlns:a16="http://schemas.microsoft.com/office/drawing/2014/main" id="{4A86393A-6F71-0941-9D7D-BD4A71CB44B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87706" y="1531340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498F1665-E329-8347-8E7E-6B8B9FEE51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7706" y="3647942"/>
            <a:ext cx="2176463" cy="276999"/>
          </a:xfrm>
          <a:pattFill prst="pct30">
            <a:fgClr>
              <a:schemeClr val="bg1">
                <a:lumMod val="65000"/>
              </a:schemeClr>
            </a:fgClr>
            <a:bgClr>
              <a:schemeClr val="bg1"/>
            </a:bgClr>
          </a:pattFill>
        </p:spPr>
        <p:txBody>
          <a:bodyPr/>
          <a:lstStyle>
            <a:lvl1pPr marL="0" algn="l" rtl="0">
              <a:defRPr/>
            </a:lvl1pPr>
          </a:lstStyle>
          <a:p>
            <a:pPr marL="0" algn="l" rtl="0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178BF8F-CEB5-3541-B9C0-C64C4EA943A8}"/>
              </a:ext>
            </a:extLst>
          </p:cNvPr>
          <p:cNvSpPr/>
          <p:nvPr userDrawn="1"/>
        </p:nvSpPr>
        <p:spPr>
          <a:xfrm>
            <a:off x="3826393" y="1530697"/>
            <a:ext cx="2175986" cy="1957745"/>
          </a:xfrm>
          <a:prstGeom prst="rect">
            <a:avLst/>
          </a:prstGeom>
          <a:solidFill>
            <a:srgbClr val="00B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6BEC682-8FAF-E041-B61D-21EF79F0E572}"/>
              </a:ext>
            </a:extLst>
          </p:cNvPr>
          <p:cNvSpPr/>
          <p:nvPr userDrawn="1"/>
        </p:nvSpPr>
        <p:spPr>
          <a:xfrm>
            <a:off x="3826393" y="3647941"/>
            <a:ext cx="2175986" cy="1957745"/>
          </a:xfrm>
          <a:prstGeom prst="rect">
            <a:avLst/>
          </a:prstGeom>
          <a:solidFill>
            <a:srgbClr val="FF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0D1AC6B-4440-A64C-A848-F5CB1F226049}"/>
              </a:ext>
            </a:extLst>
          </p:cNvPr>
          <p:cNvSpPr/>
          <p:nvPr userDrawn="1"/>
        </p:nvSpPr>
        <p:spPr>
          <a:xfrm>
            <a:off x="8549021" y="1530697"/>
            <a:ext cx="2175986" cy="1957745"/>
          </a:xfrm>
          <a:prstGeom prst="rect">
            <a:avLst/>
          </a:prstGeom>
          <a:solidFill>
            <a:srgbClr val="1C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27A687E-7939-1843-B3A4-77BF2429846F}"/>
              </a:ext>
            </a:extLst>
          </p:cNvPr>
          <p:cNvSpPr/>
          <p:nvPr userDrawn="1"/>
        </p:nvSpPr>
        <p:spPr>
          <a:xfrm>
            <a:off x="8549021" y="3647941"/>
            <a:ext cx="2175986" cy="1957745"/>
          </a:xfrm>
          <a:prstGeom prst="rect">
            <a:avLst/>
          </a:prstGeom>
          <a:solidFill>
            <a:srgbClr val="00C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15">
              <a:ln>
                <a:noFill/>
              </a:ln>
            </a:endParaRPr>
          </a:p>
        </p:txBody>
      </p:sp>
      <p:sp>
        <p:nvSpPr>
          <p:cNvPr id="49" name="Espace réservé du texte 48">
            <a:extLst>
              <a:ext uri="{FF2B5EF4-FFF2-40B4-BE49-F238E27FC236}">
                <a16:creationId xmlns:a16="http://schemas.microsoft.com/office/drawing/2014/main" id="{3AA85E8E-6436-0B45-B863-045AB034E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3564" y="1825608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0" name="Espace réservé du texte 48">
            <a:extLst>
              <a:ext uri="{FF2B5EF4-FFF2-40B4-BE49-F238E27FC236}">
                <a16:creationId xmlns:a16="http://schemas.microsoft.com/office/drawing/2014/main" id="{5D8BBA0A-6608-B049-B832-B2CBEA1DAC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53563" y="2143125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1" name="Espace réservé du texte 48">
            <a:extLst>
              <a:ext uri="{FF2B5EF4-FFF2-40B4-BE49-F238E27FC236}">
                <a16:creationId xmlns:a16="http://schemas.microsoft.com/office/drawing/2014/main" id="{99EDD00A-623C-D94C-9AE4-7DF65C685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78240" y="1825608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2" name="Espace réservé du texte 48">
            <a:extLst>
              <a:ext uri="{FF2B5EF4-FFF2-40B4-BE49-F238E27FC236}">
                <a16:creationId xmlns:a16="http://schemas.microsoft.com/office/drawing/2014/main" id="{4FAF97D5-AB54-E74E-B685-4562EF22B4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8240" y="2143125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3" name="Espace réservé du texte 48">
            <a:extLst>
              <a:ext uri="{FF2B5EF4-FFF2-40B4-BE49-F238E27FC236}">
                <a16:creationId xmlns:a16="http://schemas.microsoft.com/office/drawing/2014/main" id="{ACFE4DE5-DFE7-AD49-991B-B025A0C03F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78240" y="3942852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4" name="Espace réservé du texte 48">
            <a:extLst>
              <a:ext uri="{FF2B5EF4-FFF2-40B4-BE49-F238E27FC236}">
                <a16:creationId xmlns:a16="http://schemas.microsoft.com/office/drawing/2014/main" id="{E26F2836-7666-6643-8D97-D2529C243A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78239" y="4251960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5" name="Espace réservé du texte 48">
            <a:extLst>
              <a:ext uri="{FF2B5EF4-FFF2-40B4-BE49-F238E27FC236}">
                <a16:creationId xmlns:a16="http://schemas.microsoft.com/office/drawing/2014/main" id="{BB9D17CA-D4E8-5646-B1DD-AB9B0AD479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53563" y="3942727"/>
            <a:ext cx="1721644" cy="218136"/>
          </a:xfrm>
        </p:spPr>
        <p:txBody>
          <a:bodyPr/>
          <a:lstStyle>
            <a:lvl1pPr algn="l">
              <a:defRPr sz="1418" b="1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fr-FR"/>
              <a:t>Titre Projet </a:t>
            </a:r>
          </a:p>
        </p:txBody>
      </p:sp>
      <p:sp>
        <p:nvSpPr>
          <p:cNvPr id="56" name="Espace réservé du texte 48">
            <a:extLst>
              <a:ext uri="{FF2B5EF4-FFF2-40B4-BE49-F238E27FC236}">
                <a16:creationId xmlns:a16="http://schemas.microsoft.com/office/drawing/2014/main" id="{6C4C257B-E9E9-2E4A-B8ED-A76485E592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53562" y="4244426"/>
            <a:ext cx="1721644" cy="779381"/>
          </a:xfrm>
        </p:spPr>
        <p:txBody>
          <a:bodyPr/>
          <a:lstStyle>
            <a:lvl1pPr algn="l">
              <a:defRPr sz="1013" b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r>
              <a:rPr lang="fr-FR" err="1">
                <a:effectLst/>
                <a:latin typeface="Montserrat" pitchFamily="2" charset="77"/>
              </a:rPr>
              <a:t>Lore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ipsum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dolo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si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met</a:t>
            </a:r>
            <a:r>
              <a:rPr lang="fr-FR">
                <a:effectLst/>
                <a:latin typeface="Montserrat" pitchFamily="2" charset="77"/>
              </a:rPr>
              <a:t>, </a:t>
            </a:r>
            <a:r>
              <a:rPr lang="fr-FR" err="1">
                <a:effectLst/>
                <a:latin typeface="Montserrat" pitchFamily="2" charset="77"/>
              </a:rPr>
              <a:t>consectetur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adipiscing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lit</a:t>
            </a:r>
            <a:r>
              <a:rPr lang="fr-FR">
                <a:effectLst/>
                <a:latin typeface="Montserrat" pitchFamily="2" charset="77"/>
              </a:rPr>
              <a:t>. </a:t>
            </a:r>
            <a:r>
              <a:rPr lang="fr-FR" err="1">
                <a:effectLst/>
                <a:latin typeface="Montserrat" pitchFamily="2" charset="77"/>
              </a:rPr>
              <a:t>Praesent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molestie</a:t>
            </a:r>
            <a:r>
              <a:rPr lang="fr-FR">
                <a:effectLst/>
                <a:latin typeface="Montserrat" pitchFamily="2" charset="77"/>
              </a:rPr>
              <a:t> </a:t>
            </a:r>
            <a:r>
              <a:rPr lang="fr-FR" err="1">
                <a:effectLst/>
                <a:latin typeface="Montserrat" pitchFamily="2" charset="77"/>
              </a:rPr>
              <a:t>efficitur</a:t>
            </a:r>
            <a:r>
              <a:rPr lang="fr-FR">
                <a:effectLst/>
                <a:latin typeface="Montserrat" pitchFamily="2" charset="77"/>
              </a:rPr>
              <a:t> est, non </a:t>
            </a:r>
            <a:r>
              <a:rPr lang="fr-FR" err="1">
                <a:effectLst/>
                <a:latin typeface="Montserrat" pitchFamily="2" charset="77"/>
              </a:rPr>
              <a:t>text</a:t>
            </a:r>
            <a:endParaRPr lang="fr-FR">
              <a:effectLst/>
              <a:latin typeface="Montserrat" pitchFamily="2" charset="77"/>
            </a:endParaRPr>
          </a:p>
        </p:txBody>
      </p:sp>
      <p:sp>
        <p:nvSpPr>
          <p:cNvPr id="57" name="bg object 16">
            <a:extLst>
              <a:ext uri="{FF2B5EF4-FFF2-40B4-BE49-F238E27FC236}">
                <a16:creationId xmlns:a16="http://schemas.microsoft.com/office/drawing/2014/main" id="{EA6DC042-046D-5744-A802-96B88B579921}"/>
              </a:ext>
            </a:extLst>
          </p:cNvPr>
          <p:cNvSpPr/>
          <p:nvPr userDrawn="1"/>
        </p:nvSpPr>
        <p:spPr>
          <a:xfrm>
            <a:off x="0" y="6549390"/>
            <a:ext cx="12192000" cy="308610"/>
          </a:xfrm>
          <a:custGeom>
            <a:avLst/>
            <a:gdLst/>
            <a:ahLst/>
            <a:cxnLst/>
            <a:rect l="l" t="t" r="r" b="b"/>
            <a:pathLst>
              <a:path w="16256000" h="457200">
                <a:moveTo>
                  <a:pt x="16256000" y="0"/>
                </a:moveTo>
                <a:lnTo>
                  <a:pt x="0" y="0"/>
                </a:lnTo>
                <a:lnTo>
                  <a:pt x="0" y="457200"/>
                </a:lnTo>
                <a:lnTo>
                  <a:pt x="16256000" y="457200"/>
                </a:lnTo>
                <a:lnTo>
                  <a:pt x="16256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4" name="Espace réservé du texte 48">
            <a:extLst>
              <a:ext uri="{FF2B5EF4-FFF2-40B4-BE49-F238E27FC236}">
                <a16:creationId xmlns:a16="http://schemas.microsoft.com/office/drawing/2014/main" id="{9F7E8849-D07B-D648-95C3-0BCB51ACA1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10" y="6630983"/>
            <a:ext cx="3645000" cy="145425"/>
          </a:xfrm>
        </p:spPr>
        <p:txBody>
          <a:bodyPr/>
          <a:lstStyle>
            <a:lvl1pPr algn="l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err="1"/>
              <a:t>EnerVivo</a:t>
            </a:r>
            <a:r>
              <a:rPr lang="fr-FR"/>
              <a:t> – Information </a:t>
            </a:r>
            <a:r>
              <a:rPr lang="fr-FR" err="1"/>
              <a:t>Memorandum</a:t>
            </a:r>
            <a:endParaRPr lang="fr-FR"/>
          </a:p>
        </p:txBody>
      </p:sp>
      <p:sp>
        <p:nvSpPr>
          <p:cNvPr id="65" name="Espace réservé du texte 48">
            <a:extLst>
              <a:ext uri="{FF2B5EF4-FFF2-40B4-BE49-F238E27FC236}">
                <a16:creationId xmlns:a16="http://schemas.microsoft.com/office/drawing/2014/main" id="{EE0D9B12-BB91-2147-96A3-AD45C2C572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37" y="6636589"/>
            <a:ext cx="2537491" cy="145424"/>
          </a:xfrm>
        </p:spPr>
        <p:txBody>
          <a:bodyPr/>
          <a:lstStyle>
            <a:lvl1pPr algn="r">
              <a:defRPr sz="945" b="1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8573" marR="0" lvl="0" indent="0" algn="r" defTabSz="617220" eaLnBrk="1" fontAlgn="auto" latinLnBrk="0" hangingPunct="1">
              <a:lnSpc>
                <a:spcPct val="100000"/>
              </a:lnSpc>
              <a:spcBef>
                <a:spcPts val="6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45" b="1" spc="-7">
                <a:latin typeface="Montserrat"/>
                <a:cs typeface="Montserrat"/>
              </a:rPr>
              <a:t>Février 2022</a:t>
            </a:r>
            <a:endParaRPr lang="fr-FR" sz="945">
              <a:latin typeface="Montserrat"/>
              <a:cs typeface="Montserrat"/>
            </a:endParaRP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CE8E591B-E85B-4614-B788-38B771DBB6A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868150" y="6636588"/>
            <a:ext cx="289560" cy="145425"/>
          </a:xfrm>
        </p:spPr>
        <p:txBody>
          <a:bodyPr/>
          <a:lstStyle>
            <a:lvl1pPr>
              <a:defRPr sz="945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659158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216F4E-855A-4353-8B2D-97B55A7776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74644185"/>
              </p:ext>
            </p:extLst>
          </p:nvPr>
        </p:nvGraphicFramePr>
        <p:xfrm>
          <a:off x="1191" y="1072"/>
          <a:ext cx="1191" cy="1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635" imgH="635" progId="TCLayout.ActiveDocument.1">
                  <p:embed/>
                </p:oleObj>
              </mc:Choice>
              <mc:Fallback>
                <p:oleObj name="think-cell Slide" r:id="rId29" imgW="635" imgH="63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216F4E-855A-4353-8B2D-97B55A777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191" y="1072"/>
                        <a:ext cx="1191" cy="1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3375" y="86831"/>
            <a:ext cx="928020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0" b="1" i="0">
                <a:solidFill>
                  <a:schemeClr val="bg1"/>
                </a:solidFill>
                <a:latin typeface="Baloo 2"/>
                <a:cs typeface="Baloo 2"/>
              </a:defRPr>
            </a:lvl1pPr>
          </a:lstStyle>
          <a:p>
            <a:pPr rtl="0"/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455718" y="2316058"/>
            <a:ext cx="92802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marL="0" algn="l" rtl="0"/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r>
              <a:rPr lang="fr-FR"/>
              <a:t>ddd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1D8BD707-D9CF-40AE-B4C6-C98DA3205C09}" type="datetimeFigureOut">
              <a:rPr lang="en-US" smtClean="0"/>
              <a:pPr/>
              <a:t>8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B6F15528-21DE-4FAA-801E-634DDDAF4B2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5460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</p:sldLayoutIdLst>
  <p:hf hdr="0" ftr="0" dt="0"/>
  <p:txStyles>
    <p:titleStyle>
      <a:lvl1pPr>
        <a:defRPr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algn="l" rtl="0">
        <a:defRPr>
          <a:solidFill>
            <a:schemeClr val="tx1"/>
          </a:solidFill>
          <a:latin typeface="Montserrat" pitchFamily="2" charset="77"/>
          <a:ea typeface="+mn-ea"/>
          <a:cs typeface="+mn-cs"/>
        </a:defRPr>
      </a:lvl1pPr>
      <a:lvl2pPr marL="308610">
        <a:defRPr>
          <a:latin typeface="+mn-lt"/>
          <a:ea typeface="+mn-ea"/>
          <a:cs typeface="+mn-cs"/>
        </a:defRPr>
      </a:lvl2pPr>
      <a:lvl3pPr marL="617220">
        <a:defRPr>
          <a:latin typeface="+mn-lt"/>
          <a:ea typeface="+mn-ea"/>
          <a:cs typeface="+mn-cs"/>
        </a:defRPr>
      </a:lvl3pPr>
      <a:lvl4pPr marL="925830">
        <a:defRPr>
          <a:latin typeface="+mn-lt"/>
          <a:ea typeface="+mn-ea"/>
          <a:cs typeface="+mn-cs"/>
        </a:defRPr>
      </a:lvl4pPr>
      <a:lvl5pPr marL="1234440">
        <a:defRPr>
          <a:latin typeface="+mn-lt"/>
          <a:ea typeface="+mn-ea"/>
          <a:cs typeface="+mn-cs"/>
        </a:defRPr>
      </a:lvl5pPr>
      <a:lvl6pPr marL="1543050">
        <a:defRPr>
          <a:latin typeface="+mn-lt"/>
          <a:ea typeface="+mn-ea"/>
          <a:cs typeface="+mn-cs"/>
        </a:defRPr>
      </a:lvl6pPr>
      <a:lvl7pPr marL="1851660">
        <a:defRPr>
          <a:latin typeface="+mn-lt"/>
          <a:ea typeface="+mn-ea"/>
          <a:cs typeface="+mn-cs"/>
        </a:defRPr>
      </a:lvl7pPr>
      <a:lvl8pPr marL="2160270">
        <a:defRPr>
          <a:latin typeface="+mn-lt"/>
          <a:ea typeface="+mn-ea"/>
          <a:cs typeface="+mn-cs"/>
        </a:defRPr>
      </a:lvl8pPr>
      <a:lvl9pPr marL="246888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08610">
        <a:defRPr>
          <a:latin typeface="+mn-lt"/>
          <a:ea typeface="+mn-ea"/>
          <a:cs typeface="+mn-cs"/>
        </a:defRPr>
      </a:lvl2pPr>
      <a:lvl3pPr marL="617220">
        <a:defRPr>
          <a:latin typeface="+mn-lt"/>
          <a:ea typeface="+mn-ea"/>
          <a:cs typeface="+mn-cs"/>
        </a:defRPr>
      </a:lvl3pPr>
      <a:lvl4pPr marL="925830">
        <a:defRPr>
          <a:latin typeface="+mn-lt"/>
          <a:ea typeface="+mn-ea"/>
          <a:cs typeface="+mn-cs"/>
        </a:defRPr>
      </a:lvl4pPr>
      <a:lvl5pPr marL="1234440">
        <a:defRPr>
          <a:latin typeface="+mn-lt"/>
          <a:ea typeface="+mn-ea"/>
          <a:cs typeface="+mn-cs"/>
        </a:defRPr>
      </a:lvl5pPr>
      <a:lvl6pPr marL="1543050">
        <a:defRPr>
          <a:latin typeface="+mn-lt"/>
          <a:ea typeface="+mn-ea"/>
          <a:cs typeface="+mn-cs"/>
        </a:defRPr>
      </a:lvl6pPr>
      <a:lvl7pPr marL="1851660">
        <a:defRPr>
          <a:latin typeface="+mn-lt"/>
          <a:ea typeface="+mn-ea"/>
          <a:cs typeface="+mn-cs"/>
        </a:defRPr>
      </a:lvl7pPr>
      <a:lvl8pPr marL="2160270">
        <a:defRPr>
          <a:latin typeface="+mn-lt"/>
          <a:ea typeface="+mn-ea"/>
          <a:cs typeface="+mn-cs"/>
        </a:defRPr>
      </a:lvl8pPr>
      <a:lvl9pPr marL="246888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riege.chambre-agriculture.fr/fileadmin/user_upload/Occitanie/063_Inst-Ariege/Documents/Agronomie/Fiches_techniques_irrigation/Evaluer_la_reserve_utile_de_son_sol.pdf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4.xml"/><Relationship Id="rId4" Type="http://schemas.openxmlformats.org/officeDocument/2006/relationships/image" Target="../media/image29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pour une image  6" descr="Une image contenant herbe, extérieur, bouteille&#10;&#10;Description générée automatiquement">
            <a:extLst>
              <a:ext uri="{FF2B5EF4-FFF2-40B4-BE49-F238E27FC236}">
                <a16:creationId xmlns:a16="http://schemas.microsoft.com/office/drawing/2014/main" id="{E54F1228-62C4-41D9-856B-DFBD3A9D914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2" r="16772"/>
          <a:stretch>
            <a:fillRect/>
          </a:stretch>
        </p:blipFill>
        <p:spPr>
          <a:xfrm>
            <a:off x="8808883" y="240029"/>
            <a:ext cx="3002117" cy="2347895"/>
          </a:xfr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A9D593-B782-429E-9112-4B900F6BC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5785" y="3171825"/>
            <a:ext cx="7620784" cy="519373"/>
          </a:xfrm>
        </p:spPr>
        <p:txBody>
          <a:bodyPr/>
          <a:lstStyle/>
          <a:p>
            <a:r>
              <a:rPr lang="fr-FR" dirty="0"/>
              <a:t>Évolution cahier des charges de l’outils</a:t>
            </a:r>
          </a:p>
        </p:txBody>
      </p:sp>
      <p:pic>
        <p:nvPicPr>
          <p:cNvPr id="9" name="Espace réservé pour une image  8" descr="Une image contenant ciel, extérieur, jour&#10;&#10;Description générée automatiquement">
            <a:extLst>
              <a:ext uri="{FF2B5EF4-FFF2-40B4-BE49-F238E27FC236}">
                <a16:creationId xmlns:a16="http://schemas.microsoft.com/office/drawing/2014/main" id="{1950AB15-D5BD-4E51-895A-5B2EC151BD8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0" r="21660"/>
          <a:stretch>
            <a:fillRect/>
          </a:stretch>
        </p:blipFill>
        <p:spPr>
          <a:xfrm>
            <a:off x="-419100" y="4287638"/>
            <a:ext cx="2490447" cy="2570362"/>
          </a:xfrm>
        </p:spPr>
      </p:pic>
    </p:spTree>
    <p:extLst>
      <p:ext uri="{BB962C8B-B14F-4D97-AF65-F5344CB8AC3E}">
        <p14:creationId xmlns:p14="http://schemas.microsoft.com/office/powerpoint/2010/main" val="17925737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8741" y="5295154"/>
            <a:ext cx="285641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3259645"/>
            <a:ext cx="2856409" cy="52333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510610" y="2547442"/>
            <a:ext cx="2864542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ante 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ychrométrique γ (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Pa.°C-1),</a:t>
            </a:r>
            <a:endParaRPr lang="fr-FR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1FD908-6A4B-3355-7897-B0C8D5D06E48}"/>
              </a:ext>
            </a:extLst>
          </p:cNvPr>
          <p:cNvSpPr/>
          <p:nvPr/>
        </p:nvSpPr>
        <p:spPr>
          <a:xfrm>
            <a:off x="510610" y="1778378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2 m V</a:t>
            </a:r>
            <a:r>
              <a:rPr lang="fr-FR" baseline="-25000" dirty="0"/>
              <a:t>2</a:t>
            </a:r>
            <a:r>
              <a:rPr lang="fr-FR" dirty="0"/>
              <a:t> (m/s)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80D388-0A09-7C7C-791B-7E5A07313E70}"/>
              </a:ext>
            </a:extLst>
          </p:cNvPr>
          <p:cNvSpPr/>
          <p:nvPr/>
        </p:nvSpPr>
        <p:spPr>
          <a:xfrm>
            <a:off x="510610" y="3862693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Flux de chaleur G (w.m²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68011C-5945-7EF1-6928-03F949DE7D82}"/>
              </a:ext>
            </a:extLst>
          </p:cNvPr>
          <p:cNvSpPr/>
          <p:nvPr/>
        </p:nvSpPr>
        <p:spPr>
          <a:xfrm>
            <a:off x="510610" y="4456209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ésistance extérieure </a:t>
            </a:r>
            <a:r>
              <a:rPr lang="fr-FR" dirty="0" err="1"/>
              <a:t>Rs</a:t>
            </a:r>
            <a:r>
              <a:rPr lang="fr-FR" dirty="0"/>
              <a:t> (s/m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392730-C0BC-79E7-A900-B035CCBD15D9}"/>
              </a:ext>
            </a:extLst>
          </p:cNvPr>
          <p:cNvSpPr/>
          <p:nvPr/>
        </p:nvSpPr>
        <p:spPr>
          <a:xfrm>
            <a:off x="502479" y="898506"/>
            <a:ext cx="2864542" cy="83937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ente de la courbe de la tension saturante 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∆ ((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2ED8C6-C941-F855-AD34-AE19099FFDA2}"/>
              </a:ext>
            </a:extLst>
          </p:cNvPr>
          <p:cNvSpPr/>
          <p:nvPr/>
        </p:nvSpPr>
        <p:spPr>
          <a:xfrm>
            <a:off x="7166043" y="957470"/>
            <a:ext cx="2189919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 (kPa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0CB8A1-EA88-7C5F-081E-40FFBF227587}"/>
              </a:ext>
            </a:extLst>
          </p:cNvPr>
          <p:cNvSpPr/>
          <p:nvPr/>
        </p:nvSpPr>
        <p:spPr>
          <a:xfrm>
            <a:off x="4176240" y="979589"/>
            <a:ext cx="2856411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à la température t e (kPa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D4A03C-4511-295B-84F0-B05A5E06DD89}"/>
              </a:ext>
            </a:extLst>
          </p:cNvPr>
          <p:cNvSpPr/>
          <p:nvPr/>
        </p:nvSpPr>
        <p:spPr>
          <a:xfrm>
            <a:off x="9461730" y="957469"/>
            <a:ext cx="2651894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ngueur du pas de temps d (en </a:t>
            </a:r>
            <a:r>
              <a:rPr lang="fr-FR" dirty="0" err="1"/>
              <a:t>ks</a:t>
            </a:r>
            <a:r>
              <a:rPr lang="fr-FR" dirty="0"/>
              <a:t>)</a:t>
            </a:r>
          </a:p>
          <a:p>
            <a:pPr algn="ctr"/>
            <a:r>
              <a:rPr lang="fr-FR" dirty="0"/>
              <a:t>d = 0,0036 </a:t>
            </a:r>
            <a:r>
              <a:rPr lang="fr-FR" dirty="0" err="1"/>
              <a:t>ks</a:t>
            </a:r>
            <a:endParaRPr lang="fr-FR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81FFF671-4653-A83B-B828-BC3501613F7C}"/>
                  </a:ext>
                </a:extLst>
              </p:cNvPr>
              <p:cNvSpPr/>
              <p:nvPr/>
            </p:nvSpPr>
            <p:spPr>
              <a:xfrm>
                <a:off x="4066750" y="2292958"/>
                <a:ext cx="7875898" cy="2804954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0" smtClean="0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fr-FR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0,408× ∆ ×</m:t>
                          </m:r>
                          <m:d>
                            <m:d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Ig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fr-FR" i="0">
                                  <a:latin typeface="Cambria Math" panose="02040503050406030204" pitchFamily="18" charset="0"/>
                                </a:rPr>
                                <m:t>G</m:t>
                              </m:r>
                            </m:e>
                          </m:d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 </m:t>
                          </m:r>
                          <m:f>
                            <m:f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37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+273</m:t>
                              </m:r>
                            </m:den>
                          </m:f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fr-FR" b="0" i="1" baseline="-25000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  <m:r>
                                <a:rPr lang="fr-FR" i="1" baseline="-2500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d>
                        </m:num>
                        <m:den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∆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1+ </m:t>
                              </m:r>
                              <m:f>
                                <m:fPr>
                                  <m:ctrlPr>
                                    <a:rPr lang="fr-FR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fr-FR" i="1">
                                      <a:latin typeface="Cambria Math" panose="02040503050406030204" pitchFamily="18" charset="0"/>
                                    </a:rPr>
                                    <m:t>𝑟𝑠</m:t>
                                  </m:r>
                                </m:num>
                                <m:den>
                                  <m:r>
                                    <a:rPr lang="fr-FR" i="0">
                                      <a:latin typeface="Cambria Math" panose="02040503050406030204" pitchFamily="18" charset="0"/>
                                    </a:rPr>
                                    <m:t>208</m:t>
                                  </m:r>
                                </m:den>
                              </m:f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81FFF671-4653-A83B-B828-BC3501613F7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6750" y="2292958"/>
                <a:ext cx="7875898" cy="2804954"/>
              </a:xfrm>
              <a:prstGeom prst="ellipse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ectangle 24">
            <a:extLst>
              <a:ext uri="{FF2B5EF4-FFF2-40B4-BE49-F238E27FC236}">
                <a16:creationId xmlns:a16="http://schemas.microsoft.com/office/drawing/2014/main" id="{32F4FADD-1390-6DD1-D6FB-4CFDE37A92DA}"/>
              </a:ext>
            </a:extLst>
          </p:cNvPr>
          <p:cNvSpPr/>
          <p:nvPr/>
        </p:nvSpPr>
        <p:spPr>
          <a:xfrm>
            <a:off x="10254278" y="5606778"/>
            <a:ext cx="1066798" cy="513806"/>
          </a:xfrm>
          <a:prstGeom prst="rect">
            <a:avLst/>
          </a:prstGeom>
          <a:solidFill>
            <a:srgbClr val="00C9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ETP_h</a:t>
            </a:r>
            <a:endParaRPr lang="fr-FR" dirty="0"/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95E81AA4-DEAF-9D2D-11BD-BD0C3DC8D7AE}"/>
              </a:ext>
            </a:extLst>
          </p:cNvPr>
          <p:cNvCxnSpPr>
            <a:stCxn id="19" idx="2"/>
            <a:endCxn id="21" idx="7"/>
          </p:cNvCxnSpPr>
          <p:nvPr/>
        </p:nvCxnSpPr>
        <p:spPr>
          <a:xfrm>
            <a:off x="10787677" y="1760088"/>
            <a:ext cx="1572" cy="9436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EB0F8593-0A4F-AAFD-E88A-A3D436E05FC3}"/>
              </a:ext>
            </a:extLst>
          </p:cNvPr>
          <p:cNvCxnSpPr>
            <a:cxnSpLocks/>
            <a:stCxn id="9" idx="2"/>
            <a:endCxn id="21" idx="0"/>
          </p:cNvCxnSpPr>
          <p:nvPr/>
        </p:nvCxnSpPr>
        <p:spPr>
          <a:xfrm flipH="1">
            <a:off x="8004699" y="1760089"/>
            <a:ext cx="256304" cy="532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F0A34814-28AA-57B1-375A-DC85DA71154A}"/>
              </a:ext>
            </a:extLst>
          </p:cNvPr>
          <p:cNvCxnSpPr>
            <a:cxnSpLocks/>
            <a:stCxn id="17" idx="2"/>
            <a:endCxn id="21" idx="1"/>
          </p:cNvCxnSpPr>
          <p:nvPr/>
        </p:nvCxnSpPr>
        <p:spPr>
          <a:xfrm flipH="1">
            <a:off x="5220149" y="1782208"/>
            <a:ext cx="384297" cy="921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avec flèche 39">
            <a:extLst>
              <a:ext uri="{FF2B5EF4-FFF2-40B4-BE49-F238E27FC236}">
                <a16:creationId xmlns:a16="http://schemas.microsoft.com/office/drawing/2014/main" id="{F1B4820D-CD07-F053-04A3-9904689917C6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>
            <a:off x="3367021" y="1318191"/>
            <a:ext cx="1853128" cy="1385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9D28A9B8-1EDC-45EE-C0BD-907A984E82EA}"/>
              </a:ext>
            </a:extLst>
          </p:cNvPr>
          <p:cNvCxnSpPr>
            <a:cxnSpLocks/>
            <a:stCxn id="24" idx="3"/>
            <a:endCxn id="21" idx="1"/>
          </p:cNvCxnSpPr>
          <p:nvPr/>
        </p:nvCxnSpPr>
        <p:spPr>
          <a:xfrm>
            <a:off x="3367021" y="2118433"/>
            <a:ext cx="1853128" cy="5853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3CDCC1D2-F2E5-9244-1F4D-867806882FFB}"/>
              </a:ext>
            </a:extLst>
          </p:cNvPr>
          <p:cNvCxnSpPr>
            <a:cxnSpLocks/>
            <a:stCxn id="18" idx="3"/>
            <a:endCxn id="21" idx="2"/>
          </p:cNvCxnSpPr>
          <p:nvPr/>
        </p:nvCxnSpPr>
        <p:spPr>
          <a:xfrm>
            <a:off x="3375152" y="2859066"/>
            <a:ext cx="691598" cy="836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3C72E312-01A7-5212-1C16-A919100053A7}"/>
              </a:ext>
            </a:extLst>
          </p:cNvPr>
          <p:cNvCxnSpPr>
            <a:cxnSpLocks/>
            <a:stCxn id="14" idx="3"/>
            <a:endCxn id="21" idx="2"/>
          </p:cNvCxnSpPr>
          <p:nvPr/>
        </p:nvCxnSpPr>
        <p:spPr>
          <a:xfrm>
            <a:off x="3367021" y="3521314"/>
            <a:ext cx="699729" cy="174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CB16A940-12BF-322A-7319-03FBD432A23A}"/>
              </a:ext>
            </a:extLst>
          </p:cNvPr>
          <p:cNvCxnSpPr>
            <a:cxnSpLocks/>
            <a:stCxn id="5" idx="3"/>
            <a:endCxn id="21" idx="2"/>
          </p:cNvCxnSpPr>
          <p:nvPr/>
        </p:nvCxnSpPr>
        <p:spPr>
          <a:xfrm flipV="1">
            <a:off x="3367021" y="3695435"/>
            <a:ext cx="699729" cy="4241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B7FA4574-2971-F085-B223-3952E366F6F4}"/>
              </a:ext>
            </a:extLst>
          </p:cNvPr>
          <p:cNvCxnSpPr>
            <a:cxnSpLocks/>
            <a:stCxn id="7" idx="3"/>
            <a:endCxn id="21" idx="3"/>
          </p:cNvCxnSpPr>
          <p:nvPr/>
        </p:nvCxnSpPr>
        <p:spPr>
          <a:xfrm flipV="1">
            <a:off x="3367021" y="4687136"/>
            <a:ext cx="1853128" cy="1091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9019FE3E-DEA6-99C2-E1D1-3F353597E799}"/>
              </a:ext>
            </a:extLst>
          </p:cNvPr>
          <p:cNvCxnSpPr>
            <a:cxnSpLocks/>
            <a:stCxn id="13" idx="3"/>
            <a:endCxn id="21" idx="3"/>
          </p:cNvCxnSpPr>
          <p:nvPr/>
        </p:nvCxnSpPr>
        <p:spPr>
          <a:xfrm flipV="1">
            <a:off x="3375152" y="4687136"/>
            <a:ext cx="1844997" cy="919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C3561586-7F6E-A471-C76D-36E8A2690720}"/>
              </a:ext>
            </a:extLst>
          </p:cNvPr>
          <p:cNvCxnSpPr>
            <a:cxnSpLocks/>
            <a:stCxn id="21" idx="5"/>
            <a:endCxn id="25" idx="0"/>
          </p:cNvCxnSpPr>
          <p:nvPr/>
        </p:nvCxnSpPr>
        <p:spPr>
          <a:xfrm flipH="1">
            <a:off x="10787677" y="4687136"/>
            <a:ext cx="1572" cy="919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740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Impact agrivoltaïsme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Rectangle : avec coins arrondis en haut 6">
            <a:extLst>
              <a:ext uri="{FF2B5EF4-FFF2-40B4-BE49-F238E27FC236}">
                <a16:creationId xmlns:a16="http://schemas.microsoft.com/office/drawing/2014/main" id="{A77DD80B-C0EB-2A8D-1630-22D1FA4D44CE}"/>
              </a:ext>
            </a:extLst>
          </p:cNvPr>
          <p:cNvSpPr/>
          <p:nvPr/>
        </p:nvSpPr>
        <p:spPr>
          <a:xfrm>
            <a:off x="510611" y="191665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ADCC59-6BA8-1F8F-591D-0C7E2BF59730}"/>
              </a:ext>
            </a:extLst>
          </p:cNvPr>
          <p:cNvSpPr/>
          <p:nvPr/>
        </p:nvSpPr>
        <p:spPr>
          <a:xfrm>
            <a:off x="510612" y="3341630"/>
            <a:ext cx="260270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0" name="Rectangle : avec coins arrondis en haut 9">
            <a:extLst>
              <a:ext uri="{FF2B5EF4-FFF2-40B4-BE49-F238E27FC236}">
                <a16:creationId xmlns:a16="http://schemas.microsoft.com/office/drawing/2014/main" id="{D1712E19-1518-B6AB-AFF2-F89B6978F133}"/>
              </a:ext>
            </a:extLst>
          </p:cNvPr>
          <p:cNvSpPr/>
          <p:nvPr/>
        </p:nvSpPr>
        <p:spPr>
          <a:xfrm>
            <a:off x="4053010" y="1916650"/>
            <a:ext cx="361924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lcul de l’impact</a:t>
            </a:r>
          </a:p>
        </p:txBody>
      </p:sp>
      <p:sp>
        <p:nvSpPr>
          <p:cNvPr id="11" name="Rectangle : avec coins arrondis en haut 10">
            <a:extLst>
              <a:ext uri="{FF2B5EF4-FFF2-40B4-BE49-F238E27FC236}">
                <a16:creationId xmlns:a16="http://schemas.microsoft.com/office/drawing/2014/main" id="{833B6495-F452-7D1E-1855-520441315942}"/>
              </a:ext>
            </a:extLst>
          </p:cNvPr>
          <p:cNvSpPr/>
          <p:nvPr/>
        </p:nvSpPr>
        <p:spPr>
          <a:xfrm>
            <a:off x="8526851" y="191665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nformation installation agrivoltaïqu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216283-4B19-3F67-A87D-E62C1DC5C96B}"/>
              </a:ext>
            </a:extLst>
          </p:cNvPr>
          <p:cNvSpPr/>
          <p:nvPr/>
        </p:nvSpPr>
        <p:spPr>
          <a:xfrm>
            <a:off x="8526852" y="3341630"/>
            <a:ext cx="2602701" cy="62324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auteur h (en m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4EE078-66B2-4E7E-CC63-A301CE830FCB}"/>
              </a:ext>
            </a:extLst>
          </p:cNvPr>
          <p:cNvSpPr/>
          <p:nvPr/>
        </p:nvSpPr>
        <p:spPr>
          <a:xfrm>
            <a:off x="8526850" y="4087337"/>
            <a:ext cx="2602701" cy="62324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aux de couverture T</a:t>
            </a:r>
            <a:r>
              <a:rPr lang="fr-FR" baseline="-25000" dirty="0"/>
              <a:t>c</a:t>
            </a:r>
            <a:r>
              <a:rPr lang="fr-FR" dirty="0"/>
              <a:t> (%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29D030E-A69B-D748-502C-AD98A0DA0CB3}"/>
                  </a:ext>
                </a:extLst>
              </p:cNvPr>
              <p:cNvSpPr/>
              <p:nvPr/>
            </p:nvSpPr>
            <p:spPr>
              <a:xfrm>
                <a:off x="4053010" y="3323373"/>
                <a:ext cx="3619241" cy="64150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Facteur d’impact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fr-FR" b="0" i="1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(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𝑐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0,8−(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3,5)×2,95</m:t>
                      </m:r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29D030E-A69B-D748-502C-AD98A0DA0CB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3010" y="3323373"/>
                <a:ext cx="3619241" cy="641505"/>
              </a:xfrm>
              <a:prstGeom prst="rect">
                <a:avLst/>
              </a:prstGeom>
              <a:blipFill>
                <a:blip r:embed="rId2"/>
                <a:stretch>
                  <a:fillRect t="-3670" b="-642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1082399-2F73-DEC4-9B7F-133AC5B536D1}"/>
                  </a:ext>
                </a:extLst>
              </p:cNvPr>
              <p:cNvSpPr/>
              <p:nvPr/>
            </p:nvSpPr>
            <p:spPr>
              <a:xfrm>
                <a:off x="4053010" y="4517087"/>
                <a:ext cx="3619241" cy="64150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Irradiance globale sous panneau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𝑔</m:t>
                    </m:r>
                    <m:r>
                      <a:rPr lang="fr-FR" b="0" i="1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𝐴𝑃𝑉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𝑔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𝐼𝑔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𝐹𝑖</m:t>
                    </m:r>
                  </m:oMath>
                </a14:m>
                <a:r>
                  <a:rPr lang="fr-FR" dirty="0"/>
                  <a:t> </a:t>
                </a:r>
              </a:p>
            </p:txBody>
          </p:sp>
        </mc:Choice>
        <mc:Fallback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1082399-2F73-DEC4-9B7F-133AC5B536D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3010" y="4517087"/>
                <a:ext cx="3619241" cy="641505"/>
              </a:xfrm>
              <a:prstGeom prst="rect">
                <a:avLst/>
              </a:prstGeom>
              <a:blipFill>
                <a:blip r:embed="rId3"/>
                <a:stretch>
                  <a:fillRect t="-3670" b="-550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ZoneTexte 15">
            <a:extLst>
              <a:ext uri="{FF2B5EF4-FFF2-40B4-BE49-F238E27FC236}">
                <a16:creationId xmlns:a16="http://schemas.microsoft.com/office/drawing/2014/main" id="{092291FE-4A90-5832-52A9-F82BDDB01321}"/>
              </a:ext>
            </a:extLst>
          </p:cNvPr>
          <p:cNvSpPr txBox="1"/>
          <p:nvPr/>
        </p:nvSpPr>
        <p:spPr>
          <a:xfrm>
            <a:off x="271128" y="1053737"/>
            <a:ext cx="5102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ur l’irradiance globale</a:t>
            </a:r>
          </a:p>
        </p:txBody>
      </p: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C4BFDB19-5BD4-354C-F8D5-38A824148051}"/>
              </a:ext>
            </a:extLst>
          </p:cNvPr>
          <p:cNvCxnSpPr>
            <a:stCxn id="9" idx="3"/>
            <a:endCxn id="15" idx="1"/>
          </p:cNvCxnSpPr>
          <p:nvPr/>
        </p:nvCxnSpPr>
        <p:spPr>
          <a:xfrm>
            <a:off x="3113313" y="3653254"/>
            <a:ext cx="939697" cy="11845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A6B249AA-F7DB-BD3A-F71E-57319CFAEA2F}"/>
              </a:ext>
            </a:extLst>
          </p:cNvPr>
          <p:cNvCxnSpPr>
            <a:cxnSpLocks/>
            <a:stCxn id="12" idx="1"/>
            <a:endCxn id="14" idx="3"/>
          </p:cNvCxnSpPr>
          <p:nvPr/>
        </p:nvCxnSpPr>
        <p:spPr>
          <a:xfrm flipH="1" flipV="1">
            <a:off x="7672251" y="3644126"/>
            <a:ext cx="854601" cy="91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EE727EA3-3052-4C58-2929-B83A48F6028E}"/>
              </a:ext>
            </a:extLst>
          </p:cNvPr>
          <p:cNvCxnSpPr>
            <a:cxnSpLocks/>
            <a:stCxn id="13" idx="1"/>
            <a:endCxn id="14" idx="3"/>
          </p:cNvCxnSpPr>
          <p:nvPr/>
        </p:nvCxnSpPr>
        <p:spPr>
          <a:xfrm flipH="1" flipV="1">
            <a:off x="7672251" y="3644126"/>
            <a:ext cx="854599" cy="7548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8D09CBA2-AC8D-0D5A-BE99-9B9C6E3738EE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5862631" y="3964878"/>
            <a:ext cx="0" cy="552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00774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Impact agrivoltaïsme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Rectangle : avec coins arrondis en haut 6">
            <a:extLst>
              <a:ext uri="{FF2B5EF4-FFF2-40B4-BE49-F238E27FC236}">
                <a16:creationId xmlns:a16="http://schemas.microsoft.com/office/drawing/2014/main" id="{A77DD80B-C0EB-2A8D-1630-22D1FA4D44CE}"/>
              </a:ext>
            </a:extLst>
          </p:cNvPr>
          <p:cNvSpPr/>
          <p:nvPr/>
        </p:nvSpPr>
        <p:spPr>
          <a:xfrm>
            <a:off x="510611" y="191665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092291FE-4A90-5832-52A9-F82BDDB01321}"/>
              </a:ext>
            </a:extLst>
          </p:cNvPr>
          <p:cNvSpPr txBox="1"/>
          <p:nvPr/>
        </p:nvSpPr>
        <p:spPr>
          <a:xfrm>
            <a:off x="271128" y="1053737"/>
            <a:ext cx="5102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ur la tempéra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0FBDC6-A77C-3CD1-A43F-73CC1F8DA629}"/>
              </a:ext>
            </a:extLst>
          </p:cNvPr>
          <p:cNvSpPr/>
          <p:nvPr/>
        </p:nvSpPr>
        <p:spPr>
          <a:xfrm>
            <a:off x="510611" y="2827835"/>
            <a:ext cx="2602701" cy="52333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id="{8ACDD29D-33EE-3CD5-6450-30AC59D3C4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2586551"/>
              </p:ext>
            </p:extLst>
          </p:nvPr>
        </p:nvGraphicFramePr>
        <p:xfrm>
          <a:off x="7518400" y="3611735"/>
          <a:ext cx="46736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3493C883-A124-ECE5-6118-C5745B201E05}"/>
                  </a:ext>
                </a:extLst>
              </p:cNvPr>
              <p:cNvSpPr txBox="1"/>
              <p:nvPr/>
            </p:nvSpPr>
            <p:spPr>
              <a:xfrm>
                <a:off x="2758" y="3926063"/>
                <a:ext cx="7710376" cy="23432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dirty="0"/>
                  <a:t>Par jour : le point le plus chaud (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c</a:t>
                </a:r>
                <a:r>
                  <a:rPr lang="fr-FR" dirty="0"/>
                  <a:t> = 15h) </a:t>
                </a:r>
                <a:r>
                  <a:rPr lang="fr-FR" dirty="0">
                    <a:sym typeface="Wingdings" panose="05000000000000000000" pitchFamily="2" charset="2"/>
                  </a:rPr>
                  <a:t> T</a:t>
                </a:r>
                <a:r>
                  <a:rPr lang="fr-FR" baseline="-25000" dirty="0">
                    <a:sym typeface="Wingdings" panose="05000000000000000000" pitchFamily="2" charset="2"/>
                  </a:rPr>
                  <a:t>APV</a:t>
                </a:r>
                <a:r>
                  <a:rPr lang="fr-FR" dirty="0">
                    <a:sym typeface="Wingdings" panose="05000000000000000000" pitchFamily="2" charset="2"/>
                  </a:rPr>
                  <a:t>=T-1</a:t>
                </a:r>
              </a:p>
              <a:p>
                <a:r>
                  <a:rPr lang="fr-FR" dirty="0">
                    <a:sym typeface="Wingdings" panose="05000000000000000000" pitchFamily="2" charset="2"/>
                  </a:rPr>
                  <a:t>	</a:t>
                </a:r>
                <a:r>
                  <a:rPr lang="fr-FR" dirty="0"/>
                  <a:t>le point le plus froid ( 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f</a:t>
                </a:r>
                <a:r>
                  <a:rPr lang="fr-FR" dirty="0"/>
                  <a:t> = 5h) </a:t>
                </a:r>
                <a:r>
                  <a:rPr lang="fr-FR" dirty="0">
                    <a:sym typeface="Wingdings" panose="05000000000000000000" pitchFamily="2" charset="2"/>
                  </a:rPr>
                  <a:t> T</a:t>
                </a:r>
                <a:r>
                  <a:rPr lang="fr-FR" baseline="-25000" dirty="0">
                    <a:sym typeface="Wingdings" panose="05000000000000000000" pitchFamily="2" charset="2"/>
                  </a:rPr>
                  <a:t>APV</a:t>
                </a:r>
                <a:r>
                  <a:rPr lang="fr-FR" dirty="0">
                    <a:sym typeface="Wingdings" panose="05000000000000000000" pitchFamily="2" charset="2"/>
                  </a:rPr>
                  <a:t>=T+1</a:t>
                </a:r>
              </a:p>
              <a:p>
                <a:r>
                  <a:rPr lang="fr-FR" dirty="0"/>
                  <a:t>	régression linéaire entre le point le plus froid (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f</a:t>
                </a:r>
                <a:r>
                  <a:rPr lang="fr-FR" dirty="0"/>
                  <a:t>) et le plus chaud (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c</a:t>
                </a:r>
                <a:r>
                  <a:rPr lang="fr-FR" dirty="0"/>
                  <a:t>) </a:t>
                </a:r>
                <a:endParaRPr lang="fr-FR" dirty="0">
                  <a:sym typeface="Wingdings" panose="05000000000000000000" pitchFamily="2" charset="2"/>
                </a:endParaRPr>
              </a:p>
              <a:p>
                <a:r>
                  <a:rPr lang="fr-FR" dirty="0">
                    <a:sym typeface="Wingdings" panose="05000000000000000000" pitchFamily="2" charset="2"/>
                  </a:rPr>
                  <a:t>	à l’heure h  T</a:t>
                </a:r>
                <a:r>
                  <a:rPr lang="fr-FR" baseline="-25000" dirty="0">
                    <a:sym typeface="Wingdings" panose="05000000000000000000" pitchFamily="2" charset="2"/>
                  </a:rPr>
                  <a:t>APV </a:t>
                </a:r>
                <a:r>
                  <a:rPr lang="fr-FR" dirty="0">
                    <a:sym typeface="Wingdings" panose="05000000000000000000" pitchFamily="2" charset="2"/>
                  </a:rPr>
                  <a:t>=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FR" b="0" i="0" smtClean="0">
                        <a:latin typeface="Cambria Math" panose="02040503050406030204" pitchFamily="18" charset="0"/>
                      </a:rPr>
                      <m:t>T</m:t>
                    </m:r>
                    <m:r>
                      <a:rPr lang="fr-FR" b="0" i="0" smtClean="0">
                        <a:latin typeface="Cambria Math" panose="02040503050406030204" pitchFamily="18" charset="0"/>
                      </a:rPr>
                      <m:t>+(2 − </m:t>
                    </m:r>
                    <m:f>
                      <m:fPr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𝑓</m:t>
                        </m:r>
                      </m:num>
                      <m:den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fr-FR" b="0" i="1" baseline="-2500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𝑓</m:t>
                        </m:r>
                      </m:den>
                    </m:f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2)</m:t>
                    </m:r>
                  </m:oMath>
                </a14:m>
                <a:endParaRPr lang="fr-FR" dirty="0"/>
              </a:p>
              <a:p>
                <a:r>
                  <a:rPr lang="fr-FR" dirty="0"/>
                  <a:t>	régression linéaire entre le point le plus chaud (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c</a:t>
                </a:r>
                <a:r>
                  <a:rPr lang="fr-FR" dirty="0"/>
                  <a:t>) et le plus froid (</a:t>
                </a:r>
                <a:r>
                  <a:rPr lang="fr-FR" dirty="0" err="1"/>
                  <a:t>h</a:t>
                </a:r>
                <a:r>
                  <a:rPr lang="fr-FR" baseline="-25000" dirty="0" err="1"/>
                  <a:t>f</a:t>
                </a:r>
                <a:r>
                  <a:rPr lang="fr-FR" dirty="0"/>
                  <a:t>) </a:t>
                </a:r>
                <a:endParaRPr lang="fr-FR" dirty="0">
                  <a:sym typeface="Wingdings" panose="05000000000000000000" pitchFamily="2" charset="2"/>
                </a:endParaRPr>
              </a:p>
              <a:p>
                <a:r>
                  <a:rPr lang="fr-FR" dirty="0">
                    <a:sym typeface="Wingdings" panose="05000000000000000000" pitchFamily="2" charset="2"/>
                  </a:rPr>
                  <a:t>	à l’heure h  T</a:t>
                </a:r>
                <a:r>
                  <a:rPr lang="fr-FR" baseline="-25000" dirty="0">
                    <a:sym typeface="Wingdings" panose="05000000000000000000" pitchFamily="2" charset="2"/>
                  </a:rPr>
                  <a:t>APV </a:t>
                </a:r>
                <a:r>
                  <a:rPr lang="fr-FR" dirty="0">
                    <a:sym typeface="Wingdings" panose="05000000000000000000" pitchFamily="2" charset="2"/>
                  </a:rPr>
                  <a:t>=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FR" b="0" i="0" smtClean="0">
                        <a:latin typeface="Cambria Math" panose="02040503050406030204" pitchFamily="18" charset="0"/>
                      </a:rPr>
                      <m:t>T</m:t>
                    </m:r>
                    <m:r>
                      <a:rPr lang="fr-FR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fr-FR" b="0" i="0" smtClean="0">
                        <a:latin typeface="Cambria Math" panose="02040503050406030204" pitchFamily="18" charset="0"/>
                      </a:rPr>
                      <m:t>(2</m:t>
                    </m:r>
                    <m:r>
                      <a:rPr lang="fr-FR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fr-FR" b="0" i="0" smtClean="0">
                        <a:latin typeface="Cambria Math" panose="02040503050406030204" pitchFamily="18" charset="0"/>
                      </a:rPr>
                      <m:t> </m:t>
                    </m:r>
                    <m:f>
                      <m:fPr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𝑐</m:t>
                        </m:r>
                      </m:num>
                      <m:den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fr-FR" b="0" i="1" baseline="-25000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h𝑐</m:t>
                        </m:r>
                      </m:den>
                    </m:f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2)</m:t>
                    </m:r>
                  </m:oMath>
                </a14:m>
                <a:endParaRPr lang="fr-FR" dirty="0"/>
              </a:p>
              <a:p>
                <a:endParaRPr lang="fr-FR" dirty="0"/>
              </a:p>
            </p:txBody>
          </p:sp>
        </mc:Choice>
        <mc:Fallback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3493C883-A124-ECE5-6118-C5745B201E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8" y="3926063"/>
                <a:ext cx="7710376" cy="2343206"/>
              </a:xfrm>
              <a:prstGeom prst="rect">
                <a:avLst/>
              </a:prstGeom>
              <a:blipFill>
                <a:blip r:embed="rId3"/>
                <a:stretch>
                  <a:fillRect l="-632" t="-156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7" name="Graphique 16">
            <a:extLst>
              <a:ext uri="{FF2B5EF4-FFF2-40B4-BE49-F238E27FC236}">
                <a16:creationId xmlns:a16="http://schemas.microsoft.com/office/drawing/2014/main" id="{44876971-DC98-E1EF-D108-85FEC5BB4B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2815878"/>
              </p:ext>
            </p:extLst>
          </p:nvPr>
        </p:nvGraphicFramePr>
        <p:xfrm>
          <a:off x="5373189" y="0"/>
          <a:ext cx="6818811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87916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Impact agrivoltaïsme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Rectangle : avec coins arrondis en haut 6">
            <a:extLst>
              <a:ext uri="{FF2B5EF4-FFF2-40B4-BE49-F238E27FC236}">
                <a16:creationId xmlns:a16="http://schemas.microsoft.com/office/drawing/2014/main" id="{A77DD80B-C0EB-2A8D-1630-22D1FA4D44CE}"/>
              </a:ext>
            </a:extLst>
          </p:cNvPr>
          <p:cNvSpPr/>
          <p:nvPr/>
        </p:nvSpPr>
        <p:spPr>
          <a:xfrm>
            <a:off x="510609" y="149743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092291FE-4A90-5832-52A9-F82BDDB01321}"/>
              </a:ext>
            </a:extLst>
          </p:cNvPr>
          <p:cNvSpPr txBox="1"/>
          <p:nvPr/>
        </p:nvSpPr>
        <p:spPr>
          <a:xfrm>
            <a:off x="271128" y="1053737"/>
            <a:ext cx="5102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ur le v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3FFACD-A955-CFCE-1039-C2C9E58A5191}"/>
              </a:ext>
            </a:extLst>
          </p:cNvPr>
          <p:cNvSpPr/>
          <p:nvPr/>
        </p:nvSpPr>
        <p:spPr>
          <a:xfrm>
            <a:off x="510608" y="2488006"/>
            <a:ext cx="2602701" cy="63763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10 m V</a:t>
            </a:r>
            <a:r>
              <a:rPr lang="fr-FR" baseline="-25000" dirty="0"/>
              <a:t>10</a:t>
            </a:r>
            <a:r>
              <a:rPr lang="fr-FR" dirty="0"/>
              <a:t>(m/s)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CC4755D-A3A3-98DA-E25E-F323B8EAE3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2898" y="3125645"/>
            <a:ext cx="7721997" cy="205750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7D71E04-38BE-377A-B28E-5F397D5967B0}"/>
              </a:ext>
            </a:extLst>
          </p:cNvPr>
          <p:cNvSpPr/>
          <p:nvPr/>
        </p:nvSpPr>
        <p:spPr>
          <a:xfrm>
            <a:off x="3670455" y="3884313"/>
            <a:ext cx="7624234" cy="696396"/>
          </a:xfrm>
          <a:prstGeom prst="rect">
            <a:avLst/>
          </a:prstGeom>
          <a:solidFill>
            <a:srgbClr val="00B685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855003C9-5A6A-658E-800A-824B4C24F5F6}"/>
                  </a:ext>
                </a:extLst>
              </p:cNvPr>
              <p:cNvSpPr/>
              <p:nvPr/>
            </p:nvSpPr>
            <p:spPr>
              <a:xfrm>
                <a:off x="383752" y="3628822"/>
                <a:ext cx="2856411" cy="1081763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smtClean="0">
                          <a:latin typeface="Cambria Math" panose="02040503050406030204" pitchFamily="18" charset="0"/>
                        </a:rPr>
                        <m:t>v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2=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v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10 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den>
                          </m:f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0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𝑍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den>
                          </m:f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fr-FR" baseline="30000" dirty="0"/>
              </a:p>
            </p:txBody>
          </p:sp>
        </mc:Choice>
        <mc:Fallback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855003C9-5A6A-658E-800A-824B4C24F5F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752" y="3628822"/>
                <a:ext cx="2856411" cy="10817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671F8E6D-652C-A43B-8B20-2CAF53BAE023}"/>
              </a:ext>
            </a:extLst>
          </p:cNvPr>
          <p:cNvSpPr/>
          <p:nvPr/>
        </p:nvSpPr>
        <p:spPr>
          <a:xfrm>
            <a:off x="383751" y="5484146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2 m V</a:t>
            </a:r>
            <a:r>
              <a:rPr lang="fr-FR" baseline="-25000" dirty="0"/>
              <a:t>2</a:t>
            </a:r>
            <a:r>
              <a:rPr lang="fr-FR" dirty="0"/>
              <a:t> (m/s)</a:t>
            </a:r>
          </a:p>
        </p:txBody>
      </p:sp>
      <p:sp>
        <p:nvSpPr>
          <p:cNvPr id="18" name="Rectangle : avec coins arrondis en haut 17">
            <a:extLst>
              <a:ext uri="{FF2B5EF4-FFF2-40B4-BE49-F238E27FC236}">
                <a16:creationId xmlns:a16="http://schemas.microsoft.com/office/drawing/2014/main" id="{449DF560-5DA3-F1AC-6B93-C72E2031DA5B}"/>
              </a:ext>
            </a:extLst>
          </p:cNvPr>
          <p:cNvSpPr/>
          <p:nvPr/>
        </p:nvSpPr>
        <p:spPr>
          <a:xfrm>
            <a:off x="6122121" y="1326489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mpact agrivoltaïsm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59B075-D685-BF8E-3BF8-36857F9E96E4}"/>
              </a:ext>
            </a:extLst>
          </p:cNvPr>
          <p:cNvSpPr/>
          <p:nvPr/>
        </p:nvSpPr>
        <p:spPr>
          <a:xfrm>
            <a:off x="6122121" y="2369367"/>
            <a:ext cx="2602701" cy="637639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sse de Rugosité + 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0DD4D9-3421-32FF-AB34-965E5FA4E761}"/>
              </a:ext>
            </a:extLst>
          </p:cNvPr>
          <p:cNvSpPr/>
          <p:nvPr/>
        </p:nvSpPr>
        <p:spPr>
          <a:xfrm>
            <a:off x="3670455" y="4215093"/>
            <a:ext cx="7624234" cy="696396"/>
          </a:xfrm>
          <a:prstGeom prst="rect">
            <a:avLst/>
          </a:prstGeom>
          <a:solidFill>
            <a:schemeClr val="accent6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Flèche : bas 20">
            <a:extLst>
              <a:ext uri="{FF2B5EF4-FFF2-40B4-BE49-F238E27FC236}">
                <a16:creationId xmlns:a16="http://schemas.microsoft.com/office/drawing/2014/main" id="{BB6D0273-4E2E-4D0D-EE0D-E4C95A1415C4}"/>
              </a:ext>
            </a:extLst>
          </p:cNvPr>
          <p:cNvSpPr/>
          <p:nvPr/>
        </p:nvSpPr>
        <p:spPr>
          <a:xfrm>
            <a:off x="11399520" y="4215093"/>
            <a:ext cx="369108" cy="365616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FA255274-3946-2E9F-BAB9-DFBB053A4DEE}"/>
              </a:ext>
            </a:extLst>
          </p:cNvPr>
          <p:cNvCxnSpPr>
            <a:stCxn id="2" idx="2"/>
            <a:endCxn id="8" idx="0"/>
          </p:cNvCxnSpPr>
          <p:nvPr/>
        </p:nvCxnSpPr>
        <p:spPr>
          <a:xfrm flipH="1">
            <a:off x="1811958" y="3125645"/>
            <a:ext cx="1" cy="5031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553F3B9E-BB4B-F999-BE2A-8DE8AC427050}"/>
              </a:ext>
            </a:extLst>
          </p:cNvPr>
          <p:cNvCxnSpPr>
            <a:cxnSpLocks/>
            <a:stCxn id="8" idx="2"/>
            <a:endCxn id="17" idx="0"/>
          </p:cNvCxnSpPr>
          <p:nvPr/>
        </p:nvCxnSpPr>
        <p:spPr>
          <a:xfrm flipH="1">
            <a:off x="1811957" y="4710585"/>
            <a:ext cx="1" cy="7735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554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3FB4F0F-173B-401C-08E5-89A7B8FDDCC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t>14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C2649B-C736-58AA-1D4A-F36E9703D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kern="0"/>
              <a:t>Donnée future</a:t>
            </a:r>
            <a:endParaRPr lang="fr-FR" kern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D7E42F3-43C9-4B7D-236D-D3464CA9479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770676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9F307C-B246-6CE8-631C-5629F6F55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Récupération des données météo futur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E2CBA39-A236-959D-AD68-E3B67B7D7AB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3BC2991-EE1A-0A61-E94B-A4B0A48FE6B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1137" y="6636589"/>
            <a:ext cx="2537491" cy="303673"/>
          </a:xfrm>
        </p:spPr>
        <p:txBody>
          <a:bodyPr/>
          <a:lstStyle/>
          <a:p>
            <a:r>
              <a:rPr lang="fr-FR" dirty="0"/>
              <a:t>Juillet 2023</a:t>
            </a:r>
          </a:p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64BB1CB-847C-40A3-5239-37E05E4980A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03C3BA6-2339-8CFF-5969-4934369A9A62}"/>
              </a:ext>
            </a:extLst>
          </p:cNvPr>
          <p:cNvSpPr txBox="1"/>
          <p:nvPr/>
        </p:nvSpPr>
        <p:spPr>
          <a:xfrm>
            <a:off x="8981387" y="727631"/>
            <a:ext cx="2724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ource : Open </a:t>
            </a:r>
            <a:r>
              <a:rPr lang="fr-FR" dirty="0" err="1"/>
              <a:t>Meteo</a:t>
            </a:r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7E3AB5-DB33-6D52-00F5-87108F336876}"/>
              </a:ext>
            </a:extLst>
          </p:cNvPr>
          <p:cNvSpPr txBox="1"/>
          <p:nvPr/>
        </p:nvSpPr>
        <p:spPr>
          <a:xfrm>
            <a:off x="271128" y="1549336"/>
            <a:ext cx="1152152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myurlfut</a:t>
            </a:r>
            <a:r>
              <a:rPr lang="fr-FR" dirty="0"/>
              <a:t> = "https://climate-api.open-meteo.com/v1/</a:t>
            </a:r>
            <a:r>
              <a:rPr lang="fr-FR" dirty="0" err="1"/>
              <a:t>climate?latitude</a:t>
            </a:r>
            <a:r>
              <a:rPr lang="fr-FR" dirty="0"/>
              <a:t>=" </a:t>
            </a:r>
            <a:r>
              <a:rPr lang="fr-FR" dirty="0">
                <a:solidFill>
                  <a:srgbClr val="FF0000"/>
                </a:solidFill>
              </a:rPr>
              <a:t>&amp; </a:t>
            </a:r>
            <a:r>
              <a:rPr lang="fr-FR" dirty="0" err="1">
                <a:solidFill>
                  <a:srgbClr val="FF0000"/>
                </a:solidFill>
              </a:rPr>
              <a:t>lattitude</a:t>
            </a:r>
            <a:r>
              <a:rPr lang="fr-FR" dirty="0">
                <a:solidFill>
                  <a:srgbClr val="FF0000"/>
                </a:solidFill>
              </a:rPr>
              <a:t> &amp; </a:t>
            </a:r>
            <a:r>
              <a:rPr lang="fr-FR" dirty="0"/>
              <a:t>"&amp;longitude=" </a:t>
            </a:r>
            <a:r>
              <a:rPr lang="fr-FR" dirty="0">
                <a:solidFill>
                  <a:srgbClr val="FF0000"/>
                </a:solidFill>
              </a:rPr>
              <a:t>&amp; longitude &amp; </a:t>
            </a:r>
            <a:r>
              <a:rPr lang="fr-FR" dirty="0"/>
              <a:t>"&amp;</a:t>
            </a:r>
            <a:r>
              <a:rPr lang="fr-FR" dirty="0" err="1"/>
              <a:t>start_date</a:t>
            </a:r>
            <a:r>
              <a:rPr lang="fr-FR" dirty="0"/>
              <a:t>=" </a:t>
            </a:r>
            <a:r>
              <a:rPr lang="fr-FR" dirty="0">
                <a:solidFill>
                  <a:srgbClr val="FF0000"/>
                </a:solidFill>
              </a:rPr>
              <a:t>&amp; semi &amp; </a:t>
            </a:r>
            <a:r>
              <a:rPr lang="fr-FR" dirty="0"/>
              <a:t>"&amp;</a:t>
            </a:r>
            <a:r>
              <a:rPr lang="fr-FR" dirty="0" err="1"/>
              <a:t>end_date</a:t>
            </a:r>
            <a:r>
              <a:rPr lang="fr-FR" dirty="0"/>
              <a:t>=" </a:t>
            </a:r>
            <a:r>
              <a:rPr lang="fr-FR" dirty="0">
                <a:solidFill>
                  <a:srgbClr val="FF0000"/>
                </a:solidFill>
              </a:rPr>
              <a:t>&amp; </a:t>
            </a:r>
            <a:r>
              <a:rPr lang="fr-FR" dirty="0" err="1">
                <a:solidFill>
                  <a:srgbClr val="FF0000"/>
                </a:solidFill>
              </a:rPr>
              <a:t>recolte</a:t>
            </a:r>
            <a:r>
              <a:rPr lang="fr-FR" dirty="0">
                <a:solidFill>
                  <a:srgbClr val="FF0000"/>
                </a:solidFill>
              </a:rPr>
              <a:t> &amp; </a:t>
            </a:r>
            <a:r>
              <a:rPr lang="fr-FR" dirty="0"/>
              <a:t>"&amp;</a:t>
            </a:r>
            <a:r>
              <a:rPr lang="fr-FR" dirty="0" err="1"/>
              <a:t>models</a:t>
            </a:r>
            <a:r>
              <a:rPr lang="fr-FR" dirty="0"/>
              <a:t>=MRI_AGCM3_2_S,EC_Earth3P_HR,NICAM16_8S&amp;daily=temperature_2m_mean, temperature_2m_max,temperature_2m_min,windspeed_10m_mean,surface_pressure,shortwave_radiation_sum,relative_humidity_2m_mean relative_humidity_2m_max,relative_humidity_2m_min,precipitation_sum« </a:t>
            </a:r>
          </a:p>
          <a:p>
            <a:endParaRPr lang="fr-FR" dirty="0"/>
          </a:p>
          <a:p>
            <a:r>
              <a:rPr lang="fr-FR" dirty="0"/>
              <a:t>Modèles : MRI_AGCM3_2_S / EC_Earth3P_HR / NICAM16_8S</a:t>
            </a:r>
          </a:p>
        </p:txBody>
      </p:sp>
    </p:spTree>
    <p:extLst>
      <p:ext uri="{BB962C8B-B14F-4D97-AF65-F5344CB8AC3E}">
        <p14:creationId xmlns:p14="http://schemas.microsoft.com/office/powerpoint/2010/main" val="7644294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275371F6-A391-4FD7-4F84-C73218EEA71B}"/>
                  </a:ext>
                </a:extLst>
              </p:cNvPr>
              <p:cNvSpPr txBox="1"/>
              <p:nvPr/>
            </p:nvSpPr>
            <p:spPr>
              <a:xfrm>
                <a:off x="2834642" y="946746"/>
                <a:ext cx="7058297" cy="8418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𝐸𝑇</m:t>
                      </m:r>
                      <m:r>
                        <a:rPr lang="fr-FR" i="0">
                          <a:latin typeface="Cambria Math" panose="02040503050406030204" pitchFamily="18" charset="0"/>
                        </a:rPr>
                        <m:t>0= </m:t>
                      </m:r>
                      <m:f>
                        <m:fPr>
                          <m:ctrlPr>
                            <a:rPr lang="fr-FR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0,408× ∆ ×</m:t>
                          </m:r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</a:rPr>
                            <m:t>Ig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 </m:t>
                          </m:r>
                          <m:f>
                            <m:f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900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+273</m:t>
                              </m:r>
                            </m:den>
                          </m:f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fr-FR" b="0" i="1" baseline="-25000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  <m:r>
                                <a:rPr lang="fr-FR" i="1" baseline="-2500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d>
                        </m:num>
                        <m:den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∆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fr-FR" b="0" i="1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  <m:t>0,34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275371F6-A391-4FD7-4F84-C73218EEA7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4642" y="946746"/>
                <a:ext cx="7058297" cy="84189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oneTexte 4">
            <a:extLst>
              <a:ext uri="{FF2B5EF4-FFF2-40B4-BE49-F238E27FC236}">
                <a16:creationId xmlns:a16="http://schemas.microsoft.com/office/drawing/2014/main" id="{2131983C-CA60-E5BE-B80E-C8774489F9A1}"/>
              </a:ext>
            </a:extLst>
          </p:cNvPr>
          <p:cNvSpPr txBox="1"/>
          <p:nvPr/>
        </p:nvSpPr>
        <p:spPr>
          <a:xfrm>
            <a:off x="408010" y="1045029"/>
            <a:ext cx="4555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Formule journalière :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2B1E671-CAE4-F155-EEA6-82D9053BA16E}"/>
              </a:ext>
            </a:extLst>
          </p:cNvPr>
          <p:cNvSpPr txBox="1"/>
          <p:nvPr/>
        </p:nvSpPr>
        <p:spPr>
          <a:xfrm>
            <a:off x="191588" y="2038955"/>
            <a:ext cx="8905529" cy="38635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0 évapotranspiration de référence (mm/h),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n rayonnement net (W.m-2),    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 : longueur du pas de temps en k secondes (d</a:t>
            </a:r>
            <a:r>
              <a:rPr lang="fr-FR" dirty="0"/>
              <a:t>=0.0864 </a:t>
            </a:r>
            <a:r>
              <a:rPr lang="fr-FR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s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 température moyenne horaire de l’air (°C), 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∆ pente de la courbe de la tension de vapeur saturante (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, 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 Constante psychrométrique (kPa.°C-1), 		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tension de vapeur à la température t (kPa), 		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fr-FR" sz="1800" kern="100" baseline="-25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nsion de vapeur saturante (kPa), 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fr-FR" sz="1800" kern="100" baseline="-25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tesse moyenne du vent à 2 m (m.s-1).									</a:t>
            </a:r>
          </a:p>
        </p:txBody>
      </p:sp>
    </p:spTree>
    <p:extLst>
      <p:ext uri="{BB962C8B-B14F-4D97-AF65-F5344CB8AC3E}">
        <p14:creationId xmlns:p14="http://schemas.microsoft.com/office/powerpoint/2010/main" val="18074669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1967401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aximale de l’air (Tmax) (°C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4E014C-F9FD-CB2F-D5E3-C0A5B02372DF}"/>
              </a:ext>
            </a:extLst>
          </p:cNvPr>
          <p:cNvSpPr/>
          <p:nvPr/>
        </p:nvSpPr>
        <p:spPr>
          <a:xfrm>
            <a:off x="510609" y="3050869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maximal (</a:t>
            </a:r>
            <a:r>
              <a:rPr lang="fr-FR" dirty="0" err="1"/>
              <a:t>H</a:t>
            </a:r>
            <a:r>
              <a:rPr lang="fr-FR" baseline="-25000" dirty="0" err="1"/>
              <a:t>rmax</a:t>
            </a:r>
            <a:r>
              <a:rPr lang="fr-FR" dirty="0"/>
              <a:t>) (%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3956714" y="1969427"/>
            <a:ext cx="2856411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(Tmax) (kP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0C4EF11-0981-88AD-2A42-37B165073279}"/>
                  </a:ext>
                </a:extLst>
              </p:cNvPr>
              <p:cNvSpPr/>
              <p:nvPr/>
            </p:nvSpPr>
            <p:spPr>
              <a:xfrm>
                <a:off x="6813125" y="1986673"/>
                <a:ext cx="3608004" cy="62542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m:rPr>
                          <m:sty m:val="p"/>
                        </m:rPr>
                        <a:rPr lang="fr-FR" b="0" i="0" baseline="-25000" smtClean="0">
                          <a:latin typeface="Cambria Math" panose="02040503050406030204" pitchFamily="18" charset="0"/>
                        </a:rPr>
                        <m:t>w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)=0,6108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7,27×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𝑚𝑎𝑥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𝑚𝑎𝑥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237,3</m:t>
                              </m:r>
                            </m:den>
                          </m:f>
                        </m:sup>
                      </m:sSup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0C4EF11-0981-88AD-2A42-37B1650732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3125" y="1986673"/>
                <a:ext cx="3608004" cy="6254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ectangle 21">
            <a:extLst>
              <a:ext uri="{FF2B5EF4-FFF2-40B4-BE49-F238E27FC236}">
                <a16:creationId xmlns:a16="http://schemas.microsoft.com/office/drawing/2014/main" id="{7C49F747-5497-8609-1DFA-06F936A2B082}"/>
              </a:ext>
            </a:extLst>
          </p:cNvPr>
          <p:cNvSpPr/>
          <p:nvPr/>
        </p:nvSpPr>
        <p:spPr>
          <a:xfrm>
            <a:off x="3956714" y="2916250"/>
            <a:ext cx="2856411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à la température T e (kP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904CC6-1579-5546-B67D-5C05CD25EBFA}"/>
                  </a:ext>
                </a:extLst>
              </p:cNvPr>
              <p:cNvSpPr/>
              <p:nvPr/>
            </p:nvSpPr>
            <p:spPr>
              <a:xfrm>
                <a:off x="6813125" y="2911562"/>
                <a:ext cx="4680843" cy="802618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sty m:val="p"/>
                                </m:rPr>
                                <a:rPr lang="fr-FR">
                                  <a:latin typeface="Cambria Math" panose="02040503050406030204" pitchFamily="18" charset="0"/>
                                </a:rPr>
                                <m:t>e</m:t>
                              </m:r>
                              <m:r>
                                <m:rPr>
                                  <m:sty m:val="p"/>
                                </m:rPr>
                                <a:rPr lang="fr-FR" baseline="-25000">
                                  <a:latin typeface="Cambria Math" panose="02040503050406030204" pitchFamily="18" charset="0"/>
                                </a:rPr>
                                <m:t>w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m:rPr>
                                  <m:sty m:val="p"/>
                                </m:rPr>
                                <a:rPr lang="fr-FR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𝐻𝑟𝑚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𝑥</m:t>
                              </m:r>
                            </m:num>
                            <m:den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den>
                          </m:f>
                          <m:r>
                            <m:rPr>
                              <m:nor/>
                            </m:rPr>
                            <a:rPr lang="fr-FR" dirty="0"/>
                            <m:t>+ </m:t>
                          </m:r>
                          <m:f>
                            <m:f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m:rPr>
                                  <m:sty m:val="p"/>
                                </m:rPr>
                                <a:rPr lang="fr-FR">
                                  <a:latin typeface="Cambria Math" panose="02040503050406030204" pitchFamily="18" charset="0"/>
                                </a:rPr>
                                <m:t>e</m:t>
                              </m:r>
                              <m:r>
                                <m:rPr>
                                  <m:sty m:val="p"/>
                                </m:rPr>
                                <a:rPr lang="fr-FR" baseline="-25000">
                                  <a:latin typeface="Cambria Math" panose="02040503050406030204" pitchFamily="18" charset="0"/>
                                </a:rPr>
                                <m:t>w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m:rPr>
                                  <m:sty m:val="p"/>
                                </m:rPr>
                                <a:rPr lang="fr-FR">
                                  <a:latin typeface="Cambria Math" panose="02040503050406030204" pitchFamily="18" charset="0"/>
                                </a:rPr>
                                <m:t>Tmi</m:t>
                              </m:r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𝐻𝑚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𝑛𝑟</m:t>
                              </m:r>
                            </m:num>
                            <m:den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den>
                          </m:f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904CC6-1579-5546-B67D-5C05CD25EB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3125" y="2911562"/>
                <a:ext cx="4680843" cy="80261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9F30673A-B014-061D-9CCD-E1C427BEE614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>
            <a:off x="3113313" y="2224448"/>
            <a:ext cx="843401" cy="566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30267064-1467-2381-81FE-52C047E49914}"/>
              </a:ext>
            </a:extLst>
          </p:cNvPr>
          <p:cNvCxnSpPr>
            <a:cxnSpLocks/>
            <a:stCxn id="18" idx="2"/>
            <a:endCxn id="22" idx="0"/>
          </p:cNvCxnSpPr>
          <p:nvPr/>
        </p:nvCxnSpPr>
        <p:spPr>
          <a:xfrm>
            <a:off x="5384920" y="2592675"/>
            <a:ext cx="0" cy="3235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42648BDB-21EF-20DE-FB21-65DE663BD0C1}"/>
              </a:ext>
            </a:extLst>
          </p:cNvPr>
          <p:cNvCxnSpPr>
            <a:cxnSpLocks/>
            <a:stCxn id="15" idx="3"/>
            <a:endCxn id="22" idx="1"/>
          </p:cNvCxnSpPr>
          <p:nvPr/>
        </p:nvCxnSpPr>
        <p:spPr>
          <a:xfrm>
            <a:off x="3113310" y="3259875"/>
            <a:ext cx="843404" cy="576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 : avec coins arrondis en haut 42">
            <a:extLst>
              <a:ext uri="{FF2B5EF4-FFF2-40B4-BE49-F238E27FC236}">
                <a16:creationId xmlns:a16="http://schemas.microsoft.com/office/drawing/2014/main" id="{897DEFCE-D0BA-FF3F-BF0C-93BE280C3B86}"/>
              </a:ext>
            </a:extLst>
          </p:cNvPr>
          <p:cNvSpPr/>
          <p:nvPr/>
        </p:nvSpPr>
        <p:spPr>
          <a:xfrm>
            <a:off x="510611" y="92387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44" name="Rectangle : avec coins arrondis en haut 43">
            <a:extLst>
              <a:ext uri="{FF2B5EF4-FFF2-40B4-BE49-F238E27FC236}">
                <a16:creationId xmlns:a16="http://schemas.microsoft.com/office/drawing/2014/main" id="{64EF10B8-C1C1-764D-1883-25D246A5F455}"/>
              </a:ext>
            </a:extLst>
          </p:cNvPr>
          <p:cNvSpPr/>
          <p:nvPr/>
        </p:nvSpPr>
        <p:spPr>
          <a:xfrm>
            <a:off x="6336661" y="923869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lcul des constant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0524AF-8D94-5220-A1A8-731344CB7BD9}"/>
              </a:ext>
            </a:extLst>
          </p:cNvPr>
          <p:cNvSpPr/>
          <p:nvPr/>
        </p:nvSpPr>
        <p:spPr>
          <a:xfrm>
            <a:off x="510609" y="5733409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inimale de l’air (</a:t>
            </a:r>
            <a:r>
              <a:rPr lang="fr-FR" dirty="0" err="1"/>
              <a:t>Tmin</a:t>
            </a:r>
            <a:r>
              <a:rPr lang="fr-FR" dirty="0"/>
              <a:t>) (°C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29961F-0860-AB46-4D39-752335DEE1F2}"/>
              </a:ext>
            </a:extLst>
          </p:cNvPr>
          <p:cNvSpPr/>
          <p:nvPr/>
        </p:nvSpPr>
        <p:spPr>
          <a:xfrm>
            <a:off x="510608" y="3828335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minimal (</a:t>
            </a:r>
            <a:r>
              <a:rPr lang="fr-FR" dirty="0" err="1"/>
              <a:t>H</a:t>
            </a:r>
            <a:r>
              <a:rPr lang="fr-FR" baseline="-25000" dirty="0" err="1"/>
              <a:t>rmin</a:t>
            </a:r>
            <a:r>
              <a:rPr lang="fr-FR" dirty="0"/>
              <a:t>) (%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2D8935-2998-4B86-9B41-39E587088306}"/>
              </a:ext>
            </a:extLst>
          </p:cNvPr>
          <p:cNvSpPr/>
          <p:nvPr/>
        </p:nvSpPr>
        <p:spPr>
          <a:xfrm>
            <a:off x="3897081" y="5689262"/>
            <a:ext cx="2856411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(</a:t>
            </a:r>
            <a:r>
              <a:rPr lang="fr-FR" dirty="0" err="1"/>
              <a:t>Tmin</a:t>
            </a:r>
            <a:r>
              <a:rPr lang="fr-FR" dirty="0"/>
              <a:t>) (kP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8FBA012-F67A-670B-FBC1-21225132A888}"/>
                  </a:ext>
                </a:extLst>
              </p:cNvPr>
              <p:cNvSpPr/>
              <p:nvPr/>
            </p:nvSpPr>
            <p:spPr>
              <a:xfrm>
                <a:off x="6753492" y="5688173"/>
                <a:ext cx="3608004" cy="62542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m:rPr>
                          <m:sty m:val="p"/>
                        </m:rPr>
                        <a:rPr lang="fr-FR" b="0" i="0" baseline="-25000" smtClean="0">
                          <a:latin typeface="Cambria Math" panose="02040503050406030204" pitchFamily="18" charset="0"/>
                        </a:rPr>
                        <m:t>w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tmin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)=0,6108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7,27×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𝑚𝑖𝑛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𝑚𝑖𝑛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237,3</m:t>
                              </m:r>
                            </m:den>
                          </m:f>
                        </m:sup>
                      </m:sSup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8FBA012-F67A-670B-FBC1-21225132A88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53492" y="5688173"/>
                <a:ext cx="3608004" cy="62542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0493893A-BE7B-FC16-8B7D-6793260E5D91}"/>
              </a:ext>
            </a:extLst>
          </p:cNvPr>
          <p:cNvCxnSpPr>
            <a:cxnSpLocks/>
            <a:stCxn id="8" idx="3"/>
            <a:endCxn id="22" idx="1"/>
          </p:cNvCxnSpPr>
          <p:nvPr/>
        </p:nvCxnSpPr>
        <p:spPr>
          <a:xfrm flipV="1">
            <a:off x="3113309" y="3317560"/>
            <a:ext cx="843405" cy="7197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EF818F04-FF09-8367-6B84-AC1FAB04F4C7}"/>
              </a:ext>
            </a:extLst>
          </p:cNvPr>
          <p:cNvCxnSpPr>
            <a:cxnSpLocks/>
            <a:stCxn id="7" idx="3"/>
            <a:endCxn id="11" idx="1"/>
          </p:cNvCxnSpPr>
          <p:nvPr/>
        </p:nvCxnSpPr>
        <p:spPr>
          <a:xfrm>
            <a:off x="3113310" y="5990456"/>
            <a:ext cx="783771" cy="104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CBF05AFC-8806-A364-9132-8507D435694D}"/>
              </a:ext>
            </a:extLst>
          </p:cNvPr>
          <p:cNvCxnSpPr>
            <a:cxnSpLocks/>
            <a:stCxn id="11" idx="0"/>
            <a:endCxn id="49" idx="2"/>
          </p:cNvCxnSpPr>
          <p:nvPr/>
        </p:nvCxnSpPr>
        <p:spPr>
          <a:xfrm flipV="1">
            <a:off x="5325287" y="4336340"/>
            <a:ext cx="59633" cy="13529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30CD2847-7E7F-9CC4-62BE-C4F924227B4E}"/>
              </a:ext>
            </a:extLst>
          </p:cNvPr>
          <p:cNvSpPr/>
          <p:nvPr/>
        </p:nvSpPr>
        <p:spPr>
          <a:xfrm>
            <a:off x="3956714" y="3713092"/>
            <a:ext cx="2856411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 (kPa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F68EF37C-EF40-6AA8-0577-BCC78471456D}"/>
                  </a:ext>
                </a:extLst>
              </p:cNvPr>
              <p:cNvSpPr/>
              <p:nvPr/>
            </p:nvSpPr>
            <p:spPr>
              <a:xfrm>
                <a:off x="6826182" y="3713092"/>
                <a:ext cx="4667785" cy="62542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m:rPr>
                          <m:sty m:val="p"/>
                        </m:rPr>
                        <a:rPr lang="fr-FR" b="0" i="0" baseline="-25000" smtClean="0">
                          <a:latin typeface="Cambria Math" panose="02040503050406030204" pitchFamily="18" charset="0"/>
                        </a:rPr>
                        <m:t>w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m:rPr>
                              <m:sty m:val="p"/>
                            </m:rPr>
                            <a:rPr lang="fr-FR" baseline="-25000">
                              <a:latin typeface="Cambria Math" panose="02040503050406030204" pitchFamily="18" charset="0"/>
                            </a:rPr>
                            <m:t>w</m:t>
                          </m:r>
                          <m:d>
                            <m:dPr>
                              <m:ctrlPr>
                                <a:rPr lang="fr-FR" i="1" baseline="-2500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Tmax</m:t>
                              </m:r>
                            </m:e>
                          </m:d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m:rPr>
                              <m:sty m:val="p"/>
                            </m:rPr>
                            <a:rPr lang="fr-FR" baseline="-25000">
                              <a:latin typeface="Cambria Math" panose="02040503050406030204" pitchFamily="18" charset="0"/>
                            </a:rPr>
                            <m:t>w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</a:rPr>
                            <m:t>Tmin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F68EF37C-EF40-6AA8-0577-BCC78471456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26182" y="3713092"/>
                <a:ext cx="4667785" cy="62542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65937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8741" y="5295154"/>
            <a:ext cx="285641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3259645"/>
            <a:ext cx="2856409" cy="52333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510610" y="2547442"/>
            <a:ext cx="2864542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ante 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ychrométrique γ (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Pa.°C-1),</a:t>
            </a:r>
            <a:endParaRPr lang="fr-FR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1FD908-6A4B-3355-7897-B0C8D5D06E48}"/>
              </a:ext>
            </a:extLst>
          </p:cNvPr>
          <p:cNvSpPr/>
          <p:nvPr/>
        </p:nvSpPr>
        <p:spPr>
          <a:xfrm>
            <a:off x="510610" y="1778378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2 m V</a:t>
            </a:r>
            <a:r>
              <a:rPr lang="fr-FR" baseline="-25000" dirty="0"/>
              <a:t>2</a:t>
            </a:r>
            <a:r>
              <a:rPr lang="fr-FR" dirty="0"/>
              <a:t> (m/s)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392730-C0BC-79E7-A900-B035CCBD15D9}"/>
              </a:ext>
            </a:extLst>
          </p:cNvPr>
          <p:cNvSpPr/>
          <p:nvPr/>
        </p:nvSpPr>
        <p:spPr>
          <a:xfrm>
            <a:off x="502479" y="898506"/>
            <a:ext cx="2864542" cy="83937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ente de la courbe de la tension saturante 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∆ ((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2ED8C6-C941-F855-AD34-AE19099FFDA2}"/>
              </a:ext>
            </a:extLst>
          </p:cNvPr>
          <p:cNvSpPr/>
          <p:nvPr/>
        </p:nvSpPr>
        <p:spPr>
          <a:xfrm>
            <a:off x="7166043" y="957470"/>
            <a:ext cx="2189919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 (kPa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0CB8A1-EA88-7C5F-081E-40FFBF227587}"/>
              </a:ext>
            </a:extLst>
          </p:cNvPr>
          <p:cNvSpPr/>
          <p:nvPr/>
        </p:nvSpPr>
        <p:spPr>
          <a:xfrm>
            <a:off x="4176240" y="979589"/>
            <a:ext cx="2856411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à la température t e (kPa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D4A03C-4511-295B-84F0-B05A5E06DD89}"/>
              </a:ext>
            </a:extLst>
          </p:cNvPr>
          <p:cNvSpPr/>
          <p:nvPr/>
        </p:nvSpPr>
        <p:spPr>
          <a:xfrm>
            <a:off x="9461730" y="957469"/>
            <a:ext cx="2651894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ongueur du pas de temps d (en </a:t>
            </a:r>
            <a:r>
              <a:rPr lang="fr-FR" dirty="0" err="1"/>
              <a:t>ks</a:t>
            </a:r>
            <a:r>
              <a:rPr lang="fr-FR" dirty="0"/>
              <a:t>)</a:t>
            </a:r>
          </a:p>
          <a:p>
            <a:pPr algn="ctr"/>
            <a:r>
              <a:rPr lang="fr-FR" dirty="0"/>
              <a:t>d = 0.0864 </a:t>
            </a:r>
            <a:r>
              <a:rPr lang="fr-FR" dirty="0" err="1"/>
              <a:t>ks</a:t>
            </a:r>
            <a:endParaRPr lang="fr-FR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81FFF671-4653-A83B-B828-BC3501613F7C}"/>
                  </a:ext>
                </a:extLst>
              </p:cNvPr>
              <p:cNvSpPr/>
              <p:nvPr/>
            </p:nvSpPr>
            <p:spPr>
              <a:xfrm>
                <a:off x="4066750" y="2292958"/>
                <a:ext cx="7875898" cy="2804954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r-FR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>
                              <a:latin typeface="Cambria Math" panose="02040503050406030204" pitchFamily="18" charset="0"/>
                            </a:rPr>
                            <m:t>0,408× ∆ ×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Ig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 × </m:t>
                          </m:r>
                          <m:f>
                            <m:f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900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fr-FR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+273</m:t>
                              </m:r>
                            </m:den>
                          </m:f>
                          <m:r>
                            <a:rPr lang="fr-FR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fr-FR" i="1" baseline="-25000">
                              <a:latin typeface="Cambria Math" panose="02040503050406030204" pitchFamily="18" charset="0"/>
                            </a:rPr>
                            <m:t>2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  <m:r>
                                <a:rPr lang="fr-FR" i="1" baseline="-2500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d>
                        </m:num>
                        <m:den>
                          <m:r>
                            <a:rPr lang="fr-FR">
                              <a:latin typeface="Cambria Math" panose="02040503050406030204" pitchFamily="18" charset="0"/>
                            </a:rPr>
                            <m:t>∆+ </m:t>
                          </m:r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 ×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  <m:t>0,34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fr-FR" i="1" baseline="-2500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fr-FR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81FFF671-4653-A83B-B828-BC3501613F7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6750" y="2292958"/>
                <a:ext cx="7875898" cy="2804954"/>
              </a:xfrm>
              <a:prstGeom prst="ellipse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ectangle 24">
            <a:extLst>
              <a:ext uri="{FF2B5EF4-FFF2-40B4-BE49-F238E27FC236}">
                <a16:creationId xmlns:a16="http://schemas.microsoft.com/office/drawing/2014/main" id="{32F4FADD-1390-6DD1-D6FB-4CFDE37A92DA}"/>
              </a:ext>
            </a:extLst>
          </p:cNvPr>
          <p:cNvSpPr/>
          <p:nvPr/>
        </p:nvSpPr>
        <p:spPr>
          <a:xfrm>
            <a:off x="10254278" y="5606778"/>
            <a:ext cx="1066798" cy="513806"/>
          </a:xfrm>
          <a:prstGeom prst="rect">
            <a:avLst/>
          </a:prstGeom>
          <a:solidFill>
            <a:srgbClr val="00C9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TP_j</a:t>
            </a:r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95E81AA4-DEAF-9D2D-11BD-BD0C3DC8D7AE}"/>
              </a:ext>
            </a:extLst>
          </p:cNvPr>
          <p:cNvCxnSpPr>
            <a:stCxn id="19" idx="2"/>
            <a:endCxn id="21" idx="7"/>
          </p:cNvCxnSpPr>
          <p:nvPr/>
        </p:nvCxnSpPr>
        <p:spPr>
          <a:xfrm>
            <a:off x="10787677" y="1760088"/>
            <a:ext cx="1572" cy="9436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EB0F8593-0A4F-AAFD-E88A-A3D436E05FC3}"/>
              </a:ext>
            </a:extLst>
          </p:cNvPr>
          <p:cNvCxnSpPr>
            <a:cxnSpLocks/>
            <a:stCxn id="9" idx="2"/>
            <a:endCxn id="21" idx="0"/>
          </p:cNvCxnSpPr>
          <p:nvPr/>
        </p:nvCxnSpPr>
        <p:spPr>
          <a:xfrm flipH="1">
            <a:off x="8004699" y="1760089"/>
            <a:ext cx="256304" cy="532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F0A34814-28AA-57B1-375A-DC85DA71154A}"/>
              </a:ext>
            </a:extLst>
          </p:cNvPr>
          <p:cNvCxnSpPr>
            <a:cxnSpLocks/>
            <a:stCxn id="17" idx="2"/>
            <a:endCxn id="21" idx="1"/>
          </p:cNvCxnSpPr>
          <p:nvPr/>
        </p:nvCxnSpPr>
        <p:spPr>
          <a:xfrm flipH="1">
            <a:off x="5220149" y="1782208"/>
            <a:ext cx="384297" cy="921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avec flèche 39">
            <a:extLst>
              <a:ext uri="{FF2B5EF4-FFF2-40B4-BE49-F238E27FC236}">
                <a16:creationId xmlns:a16="http://schemas.microsoft.com/office/drawing/2014/main" id="{F1B4820D-CD07-F053-04A3-9904689917C6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>
            <a:off x="3367021" y="1318191"/>
            <a:ext cx="1853128" cy="1385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9D28A9B8-1EDC-45EE-C0BD-907A984E82EA}"/>
              </a:ext>
            </a:extLst>
          </p:cNvPr>
          <p:cNvCxnSpPr>
            <a:cxnSpLocks/>
            <a:stCxn id="24" idx="3"/>
            <a:endCxn id="21" idx="1"/>
          </p:cNvCxnSpPr>
          <p:nvPr/>
        </p:nvCxnSpPr>
        <p:spPr>
          <a:xfrm>
            <a:off x="3367021" y="2118433"/>
            <a:ext cx="1853128" cy="5853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3CDCC1D2-F2E5-9244-1F4D-867806882FFB}"/>
              </a:ext>
            </a:extLst>
          </p:cNvPr>
          <p:cNvCxnSpPr>
            <a:cxnSpLocks/>
            <a:stCxn id="18" idx="3"/>
            <a:endCxn id="21" idx="2"/>
          </p:cNvCxnSpPr>
          <p:nvPr/>
        </p:nvCxnSpPr>
        <p:spPr>
          <a:xfrm>
            <a:off x="3375152" y="2859066"/>
            <a:ext cx="691598" cy="836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3C72E312-01A7-5212-1C16-A919100053A7}"/>
              </a:ext>
            </a:extLst>
          </p:cNvPr>
          <p:cNvCxnSpPr>
            <a:cxnSpLocks/>
            <a:stCxn id="14" idx="3"/>
            <a:endCxn id="21" idx="2"/>
          </p:cNvCxnSpPr>
          <p:nvPr/>
        </p:nvCxnSpPr>
        <p:spPr>
          <a:xfrm>
            <a:off x="3367021" y="3521314"/>
            <a:ext cx="699729" cy="174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9019FE3E-DEA6-99C2-E1D1-3F353597E799}"/>
              </a:ext>
            </a:extLst>
          </p:cNvPr>
          <p:cNvCxnSpPr>
            <a:cxnSpLocks/>
            <a:stCxn id="13" idx="3"/>
            <a:endCxn id="21" idx="3"/>
          </p:cNvCxnSpPr>
          <p:nvPr/>
        </p:nvCxnSpPr>
        <p:spPr>
          <a:xfrm flipV="1">
            <a:off x="3375152" y="4687136"/>
            <a:ext cx="1844997" cy="919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C3561586-7F6E-A471-C76D-36E8A2690720}"/>
              </a:ext>
            </a:extLst>
          </p:cNvPr>
          <p:cNvCxnSpPr>
            <a:cxnSpLocks/>
            <a:stCxn id="21" idx="5"/>
            <a:endCxn id="25" idx="0"/>
          </p:cNvCxnSpPr>
          <p:nvPr/>
        </p:nvCxnSpPr>
        <p:spPr>
          <a:xfrm flipH="1">
            <a:off x="10787677" y="4687136"/>
            <a:ext cx="1572" cy="919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6472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BA9E6ED-52D6-A18F-3855-7A1760FF642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t>19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9CC9D2A-9CA5-51D0-52FD-98F91DDA3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erface utilisateur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797CCF7-1DFB-0B9C-D683-8D68A1F9CD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.</a:t>
            </a:r>
          </a:p>
        </p:txBody>
      </p:sp>
    </p:spTree>
    <p:extLst>
      <p:ext uri="{BB962C8B-B14F-4D97-AF65-F5344CB8AC3E}">
        <p14:creationId xmlns:p14="http://schemas.microsoft.com/office/powerpoint/2010/main" val="534583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3BFD1F-78D4-50A4-6CBD-A9BB9E1B3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07A30FD-5642-7FF5-2BAB-1647A08992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6548" y="3296392"/>
            <a:ext cx="1721644" cy="403637"/>
          </a:xfrm>
        </p:spPr>
        <p:txBody>
          <a:bodyPr/>
          <a:lstStyle/>
          <a:p>
            <a:r>
              <a:rPr lang="fr-FR" dirty="0"/>
              <a:t>Formule de </a:t>
            </a:r>
            <a:r>
              <a:rPr lang="fr-FR" dirty="0" err="1"/>
              <a:t>Penman-Monteith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64BDB87-3AD1-FED7-7D68-0507F4AEF9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22589" y="3296392"/>
            <a:ext cx="1721644" cy="192553"/>
          </a:xfrm>
        </p:spPr>
        <p:txBody>
          <a:bodyPr/>
          <a:lstStyle/>
          <a:p>
            <a:r>
              <a:rPr lang="fr-FR" dirty="0"/>
              <a:t>Interface utilisateur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5EC7995-9B66-F21F-6BE7-234EBCD1ED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33584" y="3282529"/>
            <a:ext cx="628834" cy="727122"/>
          </a:xfrm>
        </p:spPr>
        <p:txBody>
          <a:bodyPr/>
          <a:lstStyle/>
          <a:p>
            <a:r>
              <a:rPr lang="fr-FR" dirty="0"/>
              <a:t>1.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AB872D6-5DAC-DBA8-039F-119A2E75C2E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667750" y="3299192"/>
            <a:ext cx="726131" cy="727122"/>
          </a:xfrm>
        </p:spPr>
        <p:txBody>
          <a:bodyPr/>
          <a:lstStyle/>
          <a:p>
            <a:r>
              <a:rPr lang="fr-FR" dirty="0"/>
              <a:t>3.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1DFDBA01-5ED3-C1B3-C290-61339E5F9173}"/>
              </a:ext>
            </a:extLst>
          </p:cNvPr>
          <p:cNvSpPr txBox="1">
            <a:spLocks/>
          </p:cNvSpPr>
          <p:nvPr/>
        </p:nvSpPr>
        <p:spPr>
          <a:xfrm>
            <a:off x="5412274" y="3309455"/>
            <a:ext cx="1721644" cy="192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8573" marR="3429" algn="l" rtl="0">
              <a:lnSpc>
                <a:spcPct val="127200"/>
              </a:lnSpc>
              <a:spcBef>
                <a:spcPts val="68"/>
              </a:spcBef>
              <a:defRPr sz="1080" b="1" i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</a:defRPr>
            </a:lvl1pPr>
            <a:lvl2pPr marL="308610">
              <a:defRPr>
                <a:latin typeface="+mn-lt"/>
                <a:ea typeface="+mn-ea"/>
                <a:cs typeface="+mn-cs"/>
              </a:defRPr>
            </a:lvl2pPr>
            <a:lvl3pPr marL="617220">
              <a:defRPr>
                <a:latin typeface="+mn-lt"/>
                <a:ea typeface="+mn-ea"/>
                <a:cs typeface="+mn-cs"/>
              </a:defRPr>
            </a:lvl3pPr>
            <a:lvl4pPr marL="925830">
              <a:defRPr>
                <a:latin typeface="+mn-lt"/>
                <a:ea typeface="+mn-ea"/>
                <a:cs typeface="+mn-cs"/>
              </a:defRPr>
            </a:lvl4pPr>
            <a:lvl5pPr marL="1234440">
              <a:defRPr>
                <a:latin typeface="+mn-lt"/>
                <a:ea typeface="+mn-ea"/>
                <a:cs typeface="+mn-cs"/>
              </a:defRPr>
            </a:lvl5pPr>
            <a:lvl6pPr marL="1543050">
              <a:defRPr>
                <a:latin typeface="+mn-lt"/>
                <a:ea typeface="+mn-ea"/>
                <a:cs typeface="+mn-cs"/>
              </a:defRPr>
            </a:lvl6pPr>
            <a:lvl7pPr marL="1851660">
              <a:defRPr>
                <a:latin typeface="+mn-lt"/>
                <a:ea typeface="+mn-ea"/>
                <a:cs typeface="+mn-cs"/>
              </a:defRPr>
            </a:lvl7pPr>
            <a:lvl8pPr marL="2160270">
              <a:defRPr>
                <a:latin typeface="+mn-lt"/>
                <a:ea typeface="+mn-ea"/>
                <a:cs typeface="+mn-cs"/>
              </a:defRPr>
            </a:lvl8pPr>
            <a:lvl9pPr marL="246888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kern="0" dirty="0"/>
              <a:t>Donnée future</a:t>
            </a:r>
          </a:p>
        </p:txBody>
      </p:sp>
      <p:sp>
        <p:nvSpPr>
          <p:cNvPr id="18" name="Espace réservé du texte 19">
            <a:extLst>
              <a:ext uri="{FF2B5EF4-FFF2-40B4-BE49-F238E27FC236}">
                <a16:creationId xmlns:a16="http://schemas.microsoft.com/office/drawing/2014/main" id="{2A860830-75D4-A5E2-F142-ED782257FB4B}"/>
              </a:ext>
            </a:extLst>
          </p:cNvPr>
          <p:cNvSpPr txBox="1">
            <a:spLocks/>
          </p:cNvSpPr>
          <p:nvPr/>
        </p:nvSpPr>
        <p:spPr>
          <a:xfrm>
            <a:off x="4657435" y="3312255"/>
            <a:ext cx="726131" cy="7271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l" rtl="0">
              <a:defRPr sz="4725" b="1" i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</a:defRPr>
            </a:lvl1pPr>
            <a:lvl2pPr marL="308610">
              <a:defRPr>
                <a:latin typeface="+mn-lt"/>
                <a:ea typeface="+mn-ea"/>
                <a:cs typeface="+mn-cs"/>
              </a:defRPr>
            </a:lvl2pPr>
            <a:lvl3pPr marL="617220">
              <a:defRPr>
                <a:latin typeface="+mn-lt"/>
                <a:ea typeface="+mn-ea"/>
                <a:cs typeface="+mn-cs"/>
              </a:defRPr>
            </a:lvl3pPr>
            <a:lvl4pPr marL="925830">
              <a:defRPr>
                <a:latin typeface="+mn-lt"/>
                <a:ea typeface="+mn-ea"/>
                <a:cs typeface="+mn-cs"/>
              </a:defRPr>
            </a:lvl4pPr>
            <a:lvl5pPr marL="1234440">
              <a:defRPr>
                <a:latin typeface="+mn-lt"/>
                <a:ea typeface="+mn-ea"/>
                <a:cs typeface="+mn-cs"/>
              </a:defRPr>
            </a:lvl5pPr>
            <a:lvl6pPr marL="1543050">
              <a:defRPr>
                <a:latin typeface="+mn-lt"/>
                <a:ea typeface="+mn-ea"/>
                <a:cs typeface="+mn-cs"/>
              </a:defRPr>
            </a:lvl6pPr>
            <a:lvl7pPr marL="1851660">
              <a:defRPr>
                <a:latin typeface="+mn-lt"/>
                <a:ea typeface="+mn-ea"/>
                <a:cs typeface="+mn-cs"/>
              </a:defRPr>
            </a:lvl7pPr>
            <a:lvl8pPr marL="2160270">
              <a:defRPr>
                <a:latin typeface="+mn-lt"/>
                <a:ea typeface="+mn-ea"/>
                <a:cs typeface="+mn-cs"/>
              </a:defRPr>
            </a:lvl8pPr>
            <a:lvl9pPr marL="246888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fr-FR" kern="0"/>
              <a:t>2.</a:t>
            </a:r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1844760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2873B07-536E-EACE-D92D-9EA92AF6E6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D0910CF-85FD-70D1-99CA-5B63451FCE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1137" y="6636589"/>
            <a:ext cx="2537491" cy="303673"/>
          </a:xfrm>
        </p:spPr>
        <p:txBody>
          <a:bodyPr/>
          <a:lstStyle/>
          <a:p>
            <a:r>
              <a:rPr lang="fr-FR" dirty="0"/>
              <a:t>Juillet 2023</a:t>
            </a:r>
          </a:p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A6BF029-6B8A-A1D9-AC44-0DAE49A150E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3C5FBE53-3700-9F66-2044-0D67E5B7309C}"/>
              </a:ext>
            </a:extLst>
          </p:cNvPr>
          <p:cNvSpPr txBox="1">
            <a:spLocks/>
          </p:cNvSpPr>
          <p:nvPr/>
        </p:nvSpPr>
        <p:spPr>
          <a:xfrm>
            <a:off x="271128" y="312872"/>
            <a:ext cx="1045387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50" b="1" i="0">
                <a:solidFill>
                  <a:schemeClr val="tx1"/>
                </a:solidFill>
                <a:latin typeface="Baloo 2"/>
                <a:ea typeface="+mj-ea"/>
                <a:cs typeface="Baloo 2"/>
              </a:defRPr>
            </a:lvl1pPr>
          </a:lstStyle>
          <a:p>
            <a:r>
              <a:rPr lang="fr-FR" kern="0" dirty="0">
                <a:solidFill>
                  <a:srgbClr val="00C9FF"/>
                </a:solidFill>
              </a:rPr>
              <a:t>Interface utilisateu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673B4FD-122E-A4FA-2E97-5B0FAE1E2E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50"/>
          <a:stretch/>
        </p:blipFill>
        <p:spPr>
          <a:xfrm>
            <a:off x="2793999" y="936120"/>
            <a:ext cx="6333067" cy="563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469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2873B07-536E-EACE-D92D-9EA92AF6E6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D0910CF-85FD-70D1-99CA-5B63451FCE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1137" y="6636589"/>
            <a:ext cx="2537491" cy="303673"/>
          </a:xfrm>
        </p:spPr>
        <p:txBody>
          <a:bodyPr/>
          <a:lstStyle/>
          <a:p>
            <a:r>
              <a:rPr lang="fr-FR" dirty="0"/>
              <a:t>Juillet 2023</a:t>
            </a:r>
          </a:p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A6BF029-6B8A-A1D9-AC44-0DAE49A150E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3C5FBE53-3700-9F66-2044-0D67E5B7309C}"/>
              </a:ext>
            </a:extLst>
          </p:cNvPr>
          <p:cNvSpPr txBox="1">
            <a:spLocks/>
          </p:cNvSpPr>
          <p:nvPr/>
        </p:nvSpPr>
        <p:spPr>
          <a:xfrm>
            <a:off x="271128" y="312872"/>
            <a:ext cx="1045387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50" b="1" i="0">
                <a:solidFill>
                  <a:schemeClr val="tx1"/>
                </a:solidFill>
                <a:latin typeface="Baloo 2"/>
                <a:ea typeface="+mj-ea"/>
                <a:cs typeface="Baloo 2"/>
              </a:defRPr>
            </a:lvl1pPr>
          </a:lstStyle>
          <a:p>
            <a:r>
              <a:rPr lang="fr-FR" kern="0" dirty="0">
                <a:solidFill>
                  <a:srgbClr val="00C9FF"/>
                </a:solidFill>
              </a:rPr>
              <a:t>Interface utilisateu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6768750-A5EE-C0A7-E5AB-FC23D469565B}"/>
              </a:ext>
            </a:extLst>
          </p:cNvPr>
          <p:cNvSpPr txBox="1"/>
          <p:nvPr/>
        </p:nvSpPr>
        <p:spPr>
          <a:xfrm>
            <a:off x="271127" y="831334"/>
            <a:ext cx="4258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ous forme de formulaire 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226DAC66-A51D-EEC1-73EA-19DEB0E670BB}"/>
              </a:ext>
            </a:extLst>
          </p:cNvPr>
          <p:cNvSpPr txBox="1"/>
          <p:nvPr/>
        </p:nvSpPr>
        <p:spPr>
          <a:xfrm>
            <a:off x="304440" y="1385697"/>
            <a:ext cx="385214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exture du sol</a:t>
            </a:r>
          </a:p>
          <a:p>
            <a:endParaRPr lang="fr-FR" dirty="0"/>
          </a:p>
          <a:p>
            <a:r>
              <a:rPr lang="fr-FR" dirty="0"/>
              <a:t>Profondeur racinaire</a:t>
            </a:r>
          </a:p>
          <a:p>
            <a:endParaRPr lang="fr-FR" dirty="0"/>
          </a:p>
          <a:p>
            <a:r>
              <a:rPr lang="fr-FR" dirty="0" err="1"/>
              <a:t>Pierrosité</a:t>
            </a:r>
            <a:endParaRPr lang="fr-FR" dirty="0"/>
          </a:p>
          <a:p>
            <a:endParaRPr lang="fr-FR" dirty="0"/>
          </a:p>
          <a:p>
            <a:r>
              <a:rPr lang="fr-FR" dirty="0"/>
              <a:t>Densité apparente</a:t>
            </a:r>
          </a:p>
          <a:p>
            <a:endParaRPr lang="fr-FR" dirty="0"/>
          </a:p>
          <a:p>
            <a:r>
              <a:rPr lang="fr-FR" dirty="0"/>
              <a:t>Adresse</a:t>
            </a:r>
          </a:p>
          <a:p>
            <a:endParaRPr lang="fr-FR" dirty="0"/>
          </a:p>
          <a:p>
            <a:r>
              <a:rPr lang="fr-FR" dirty="0"/>
              <a:t>Hauteur de l’installation PV</a:t>
            </a:r>
          </a:p>
          <a:p>
            <a:endParaRPr lang="fr-FR" dirty="0"/>
          </a:p>
          <a:p>
            <a:r>
              <a:rPr lang="fr-FR" dirty="0"/>
              <a:t>Taux de couverture PV</a:t>
            </a:r>
          </a:p>
          <a:p>
            <a:endParaRPr lang="fr-FR" dirty="0"/>
          </a:p>
          <a:p>
            <a:r>
              <a:rPr lang="fr-FR" dirty="0"/>
              <a:t>Culture</a:t>
            </a:r>
          </a:p>
          <a:p>
            <a:endParaRPr lang="fr-FR" dirty="0"/>
          </a:p>
          <a:p>
            <a:r>
              <a:rPr lang="fr-FR" dirty="0"/>
              <a:t>Date clef du cycle de la cul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EA4759-6F64-1373-B589-10C63C508ED0}"/>
              </a:ext>
            </a:extLst>
          </p:cNvPr>
          <p:cNvSpPr/>
          <p:nvPr/>
        </p:nvSpPr>
        <p:spPr>
          <a:xfrm>
            <a:off x="3817741" y="1349796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149103-F9BE-3861-00D7-99130FB2A99D}"/>
              </a:ext>
            </a:extLst>
          </p:cNvPr>
          <p:cNvSpPr/>
          <p:nvPr/>
        </p:nvSpPr>
        <p:spPr>
          <a:xfrm>
            <a:off x="3817740" y="1868208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BC4661-E6D1-00C8-8CE8-7FA1B7817478}"/>
              </a:ext>
            </a:extLst>
          </p:cNvPr>
          <p:cNvSpPr/>
          <p:nvPr/>
        </p:nvSpPr>
        <p:spPr>
          <a:xfrm>
            <a:off x="3817740" y="2386620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F3BAF0-013E-772C-E916-5C9E87BEA9D8}"/>
              </a:ext>
            </a:extLst>
          </p:cNvPr>
          <p:cNvSpPr/>
          <p:nvPr/>
        </p:nvSpPr>
        <p:spPr>
          <a:xfrm>
            <a:off x="3817739" y="293222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A06392-9E3A-095E-FEA1-B0B4B804F452}"/>
              </a:ext>
            </a:extLst>
          </p:cNvPr>
          <p:cNvSpPr/>
          <p:nvPr/>
        </p:nvSpPr>
        <p:spPr>
          <a:xfrm>
            <a:off x="3817738" y="3441877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EDA32C-C098-1D05-F0D4-E5AF01578354}"/>
              </a:ext>
            </a:extLst>
          </p:cNvPr>
          <p:cNvSpPr/>
          <p:nvPr/>
        </p:nvSpPr>
        <p:spPr>
          <a:xfrm>
            <a:off x="3817737" y="407051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7F663E3-5565-CACA-429C-4264B2E41900}"/>
              </a:ext>
            </a:extLst>
          </p:cNvPr>
          <p:cNvSpPr/>
          <p:nvPr/>
        </p:nvSpPr>
        <p:spPr>
          <a:xfrm>
            <a:off x="3817736" y="4616068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8BD516-32F4-D140-5100-C6E4E409002D}"/>
              </a:ext>
            </a:extLst>
          </p:cNvPr>
          <p:cNvSpPr/>
          <p:nvPr/>
        </p:nvSpPr>
        <p:spPr>
          <a:xfrm>
            <a:off x="3817735" y="520880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138CA2-E24F-281C-CE12-EB59C0E8CBEE}"/>
              </a:ext>
            </a:extLst>
          </p:cNvPr>
          <p:cNvSpPr/>
          <p:nvPr/>
        </p:nvSpPr>
        <p:spPr>
          <a:xfrm>
            <a:off x="3817735" y="5744715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AE921CD-9215-1D26-C7A5-021B4A10FDC9}"/>
              </a:ext>
            </a:extLst>
          </p:cNvPr>
          <p:cNvSpPr/>
          <p:nvPr/>
        </p:nvSpPr>
        <p:spPr>
          <a:xfrm>
            <a:off x="6026331" y="1367746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A1144DE-19FE-A44D-9C8C-11B19AA07913}"/>
              </a:ext>
            </a:extLst>
          </p:cNvPr>
          <p:cNvSpPr/>
          <p:nvPr/>
        </p:nvSpPr>
        <p:spPr>
          <a:xfrm>
            <a:off x="6026331" y="1904109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B2A8790-7D90-34D2-76ED-49C2DA9FAD09}"/>
              </a:ext>
            </a:extLst>
          </p:cNvPr>
          <p:cNvSpPr/>
          <p:nvPr/>
        </p:nvSpPr>
        <p:spPr>
          <a:xfrm>
            <a:off x="6026331" y="2422521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CA3BC54-F2E7-90C3-70E2-A5B411CDBC24}"/>
              </a:ext>
            </a:extLst>
          </p:cNvPr>
          <p:cNvSpPr/>
          <p:nvPr/>
        </p:nvSpPr>
        <p:spPr>
          <a:xfrm>
            <a:off x="6026331" y="2988253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CCD6F5B-FFD0-A905-7C20-92AFBF41A8E2}"/>
              </a:ext>
            </a:extLst>
          </p:cNvPr>
          <p:cNvSpPr/>
          <p:nvPr/>
        </p:nvSpPr>
        <p:spPr>
          <a:xfrm>
            <a:off x="6026331" y="4043028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9FF66D0-183B-282D-ADEE-35F781056383}"/>
              </a:ext>
            </a:extLst>
          </p:cNvPr>
          <p:cNvSpPr/>
          <p:nvPr/>
        </p:nvSpPr>
        <p:spPr>
          <a:xfrm>
            <a:off x="6026331" y="4613179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ABA5E72-F035-DF36-057B-C97E00C11D15}"/>
              </a:ext>
            </a:extLst>
          </p:cNvPr>
          <p:cNvSpPr/>
          <p:nvPr/>
        </p:nvSpPr>
        <p:spPr>
          <a:xfrm>
            <a:off x="6026331" y="5149542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5" name="Bulle narrative : rectangle 24">
            <a:extLst>
              <a:ext uri="{FF2B5EF4-FFF2-40B4-BE49-F238E27FC236}">
                <a16:creationId xmlns:a16="http://schemas.microsoft.com/office/drawing/2014/main" id="{125E2075-9107-9157-0ABB-BD731786C868}"/>
              </a:ext>
            </a:extLst>
          </p:cNvPr>
          <p:cNvSpPr/>
          <p:nvPr/>
        </p:nvSpPr>
        <p:spPr>
          <a:xfrm>
            <a:off x="6618517" y="685800"/>
            <a:ext cx="5395684" cy="922867"/>
          </a:xfrm>
          <a:prstGeom prst="wedgeRectCallout">
            <a:avLst>
              <a:gd name="adj1" fmla="val -57032"/>
              <a:gd name="adj2" fmla="val 3956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a texture du sol est la répartition des catégories de tailles de particules. Elle est récupérable dans les analyses de sol ou par la méthode du boudin</a:t>
            </a:r>
          </a:p>
        </p:txBody>
      </p:sp>
      <p:sp>
        <p:nvSpPr>
          <p:cNvPr id="26" name="Bulle narrative : rectangle 25">
            <a:extLst>
              <a:ext uri="{FF2B5EF4-FFF2-40B4-BE49-F238E27FC236}">
                <a16:creationId xmlns:a16="http://schemas.microsoft.com/office/drawing/2014/main" id="{A2738DE6-9C8B-E55E-77FF-F3E166B312B4}"/>
              </a:ext>
            </a:extLst>
          </p:cNvPr>
          <p:cNvSpPr/>
          <p:nvPr/>
        </p:nvSpPr>
        <p:spPr>
          <a:xfrm>
            <a:off x="6426928" y="1701176"/>
            <a:ext cx="5730781" cy="2246563"/>
          </a:xfrm>
          <a:prstGeom prst="wedgeRectCallout">
            <a:avLst>
              <a:gd name="adj1" fmla="val -53845"/>
              <a:gd name="adj2" fmla="val -10486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a </a:t>
            </a:r>
            <a:r>
              <a:rPr lang="fr-FR" dirty="0" err="1"/>
              <a:t>pierrosité</a:t>
            </a:r>
            <a:r>
              <a:rPr lang="fr-FR" dirty="0"/>
              <a:t> est la proportion de pierre dans le sol (&gt;2mm)</a:t>
            </a:r>
          </a:p>
          <a:p>
            <a:pPr algn="ctr"/>
            <a:r>
              <a:rPr lang="fr-FR" dirty="0"/>
              <a:t>Observation des pierres de surfaces :</a:t>
            </a:r>
          </a:p>
          <a:p>
            <a:pPr algn="ctr"/>
            <a:r>
              <a:rPr lang="fr-FR" dirty="0"/>
              <a:t>Aucune : 0 %</a:t>
            </a:r>
          </a:p>
          <a:p>
            <a:pPr algn="ctr"/>
            <a:r>
              <a:rPr lang="fr-FR" dirty="0"/>
              <a:t>Quelques pierres  : 5 %</a:t>
            </a:r>
          </a:p>
          <a:p>
            <a:pPr algn="ctr"/>
            <a:r>
              <a:rPr lang="fr-FR" dirty="0"/>
              <a:t>Éparpillés mais visible : 10%</a:t>
            </a:r>
          </a:p>
          <a:p>
            <a:pPr algn="ctr"/>
            <a:r>
              <a:rPr lang="fr-FR" dirty="0"/>
              <a:t>Partout à la surface du champ : 30 %</a:t>
            </a:r>
          </a:p>
          <a:p>
            <a:pPr algn="ctr"/>
            <a:r>
              <a:rPr lang="fr-FR" dirty="0"/>
              <a:t>Plus de sol visible : 70 %</a:t>
            </a:r>
          </a:p>
          <a:p>
            <a:pPr algn="ctr"/>
            <a:endParaRPr lang="fr-FR" dirty="0"/>
          </a:p>
        </p:txBody>
      </p:sp>
      <p:sp>
        <p:nvSpPr>
          <p:cNvPr id="27" name="Bulle narrative : rectangle 26">
            <a:extLst>
              <a:ext uri="{FF2B5EF4-FFF2-40B4-BE49-F238E27FC236}">
                <a16:creationId xmlns:a16="http://schemas.microsoft.com/office/drawing/2014/main" id="{43081122-7955-9058-8E8E-2C5C46DBA741}"/>
              </a:ext>
            </a:extLst>
          </p:cNvPr>
          <p:cNvSpPr/>
          <p:nvPr/>
        </p:nvSpPr>
        <p:spPr>
          <a:xfrm>
            <a:off x="6618517" y="5393470"/>
            <a:ext cx="5395684" cy="956870"/>
          </a:xfrm>
          <a:prstGeom prst="wedgeRectCallout">
            <a:avLst>
              <a:gd name="adj1" fmla="val -58130"/>
              <a:gd name="adj2" fmla="val -4896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hoisissez la culture que vous voulez cultiver et renseigner les dates à laquelle les plantes atteindront le stade ci-dessous</a:t>
            </a:r>
          </a:p>
        </p:txBody>
      </p:sp>
      <p:sp>
        <p:nvSpPr>
          <p:cNvPr id="28" name="Bulle narrative : rectangle 27">
            <a:extLst>
              <a:ext uri="{FF2B5EF4-FFF2-40B4-BE49-F238E27FC236}">
                <a16:creationId xmlns:a16="http://schemas.microsoft.com/office/drawing/2014/main" id="{43BA3F7A-13DE-A68F-FC90-C8137EC5421B}"/>
              </a:ext>
            </a:extLst>
          </p:cNvPr>
          <p:cNvSpPr/>
          <p:nvPr/>
        </p:nvSpPr>
        <p:spPr>
          <a:xfrm>
            <a:off x="6618517" y="4233989"/>
            <a:ext cx="5395684" cy="694269"/>
          </a:xfrm>
          <a:prstGeom prst="wedgeRectCallout">
            <a:avLst>
              <a:gd name="adj1" fmla="val -57973"/>
              <a:gd name="adj2" fmla="val -5060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a hauteur du point le plus bas des panneaux photovoltaïques</a:t>
            </a:r>
          </a:p>
        </p:txBody>
      </p:sp>
    </p:spTree>
    <p:extLst>
      <p:ext uri="{BB962C8B-B14F-4D97-AF65-F5344CB8AC3E}">
        <p14:creationId xmlns:p14="http://schemas.microsoft.com/office/powerpoint/2010/main" val="22143506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43AA8D4-B7D7-42A6-48D1-1937381E0D7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C1CE9E6-0EFC-7A1A-65DD-797B97C6DB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9A45990-F04A-DDD9-6A26-2E3F3488501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22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17DB59D-96C9-4C29-CF85-5631CF772C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0781" y="982058"/>
            <a:ext cx="6782149" cy="468654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FE4A5CD2-3B1A-F6A0-C558-1B950C8074FF}"/>
              </a:ext>
            </a:extLst>
          </p:cNvPr>
          <p:cNvSpPr txBox="1"/>
          <p:nvPr/>
        </p:nvSpPr>
        <p:spPr>
          <a:xfrm>
            <a:off x="0" y="5714537"/>
            <a:ext cx="12327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3"/>
              </a:rPr>
              <a:t>https://ariege.chambre-agriculture.fr/fileadmin/user_upload/Occitanie/063_Inst-Ariege/Documents/Agronomie/Fiches_techniques_irrigation/Evaluer_la_reserve_utile_de_son_sol.pdf</a:t>
            </a:r>
            <a:r>
              <a:rPr lang="fr-FR" dirty="0"/>
              <a:t> 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A0BDE7C6-D390-6E01-3E56-A6E377D35C77}"/>
              </a:ext>
            </a:extLst>
          </p:cNvPr>
          <p:cNvSpPr txBox="1">
            <a:spLocks/>
          </p:cNvSpPr>
          <p:nvPr/>
        </p:nvSpPr>
        <p:spPr>
          <a:xfrm>
            <a:off x="271128" y="312872"/>
            <a:ext cx="1045387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50" b="1" i="0">
                <a:solidFill>
                  <a:schemeClr val="tx1"/>
                </a:solidFill>
                <a:latin typeface="Baloo 2"/>
                <a:ea typeface="+mj-ea"/>
                <a:cs typeface="Baloo 2"/>
              </a:defRPr>
            </a:lvl1pPr>
          </a:lstStyle>
          <a:p>
            <a:r>
              <a:rPr lang="fr-FR" kern="0" dirty="0">
                <a:solidFill>
                  <a:srgbClr val="00C9FF"/>
                </a:solidFill>
              </a:rPr>
              <a:t>Méthode d’évaluation de la texture du sol</a:t>
            </a:r>
          </a:p>
        </p:txBody>
      </p:sp>
    </p:spTree>
    <p:extLst>
      <p:ext uri="{BB962C8B-B14F-4D97-AF65-F5344CB8AC3E}">
        <p14:creationId xmlns:p14="http://schemas.microsoft.com/office/powerpoint/2010/main" val="31446336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2873B07-536E-EACE-D92D-9EA92AF6E6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D0910CF-85FD-70D1-99CA-5B63451FCE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1137" y="6636589"/>
            <a:ext cx="2537491" cy="303673"/>
          </a:xfrm>
        </p:spPr>
        <p:txBody>
          <a:bodyPr/>
          <a:lstStyle/>
          <a:p>
            <a:r>
              <a:rPr lang="fr-FR" dirty="0"/>
              <a:t>Juillet 2023</a:t>
            </a:r>
          </a:p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A6BF029-6B8A-A1D9-AC44-0DAE49A150E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3C5FBE53-3700-9F66-2044-0D67E5B7309C}"/>
              </a:ext>
            </a:extLst>
          </p:cNvPr>
          <p:cNvSpPr txBox="1">
            <a:spLocks/>
          </p:cNvSpPr>
          <p:nvPr/>
        </p:nvSpPr>
        <p:spPr>
          <a:xfrm>
            <a:off x="271128" y="312872"/>
            <a:ext cx="1045387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50" b="1" i="0">
                <a:solidFill>
                  <a:schemeClr val="tx1"/>
                </a:solidFill>
                <a:latin typeface="Baloo 2"/>
                <a:ea typeface="+mj-ea"/>
                <a:cs typeface="Baloo 2"/>
              </a:defRPr>
            </a:lvl1pPr>
          </a:lstStyle>
          <a:p>
            <a:r>
              <a:rPr lang="fr-FR" kern="0" dirty="0">
                <a:solidFill>
                  <a:srgbClr val="00C9FF"/>
                </a:solidFill>
              </a:rPr>
              <a:t>Interface utilisateur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6768750-A5EE-C0A7-E5AB-FC23D469565B}"/>
              </a:ext>
            </a:extLst>
          </p:cNvPr>
          <p:cNvSpPr txBox="1"/>
          <p:nvPr/>
        </p:nvSpPr>
        <p:spPr>
          <a:xfrm>
            <a:off x="271127" y="831334"/>
            <a:ext cx="4258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ous forme de formulaire 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226DAC66-A51D-EEC1-73EA-19DEB0E670BB}"/>
              </a:ext>
            </a:extLst>
          </p:cNvPr>
          <p:cNvSpPr txBox="1"/>
          <p:nvPr/>
        </p:nvSpPr>
        <p:spPr>
          <a:xfrm>
            <a:off x="304440" y="1385697"/>
            <a:ext cx="385214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exture du sol</a:t>
            </a:r>
          </a:p>
          <a:p>
            <a:endParaRPr lang="fr-FR" dirty="0"/>
          </a:p>
          <a:p>
            <a:r>
              <a:rPr lang="fr-FR" dirty="0"/>
              <a:t>Profondeur racinaire</a:t>
            </a:r>
          </a:p>
          <a:p>
            <a:endParaRPr lang="fr-FR" dirty="0"/>
          </a:p>
          <a:p>
            <a:r>
              <a:rPr lang="fr-FR" dirty="0" err="1"/>
              <a:t>Pierrosité</a:t>
            </a:r>
            <a:endParaRPr lang="fr-FR" dirty="0"/>
          </a:p>
          <a:p>
            <a:endParaRPr lang="fr-FR" dirty="0"/>
          </a:p>
          <a:p>
            <a:r>
              <a:rPr lang="fr-FR" dirty="0"/>
              <a:t>Densité apparente</a:t>
            </a:r>
          </a:p>
          <a:p>
            <a:endParaRPr lang="fr-FR" dirty="0"/>
          </a:p>
          <a:p>
            <a:r>
              <a:rPr lang="fr-FR" dirty="0"/>
              <a:t>Adresse</a:t>
            </a:r>
          </a:p>
          <a:p>
            <a:endParaRPr lang="fr-FR" dirty="0"/>
          </a:p>
          <a:p>
            <a:r>
              <a:rPr lang="fr-FR" dirty="0"/>
              <a:t>Hauteur de l’installation PV</a:t>
            </a:r>
          </a:p>
          <a:p>
            <a:endParaRPr lang="fr-FR" dirty="0"/>
          </a:p>
          <a:p>
            <a:r>
              <a:rPr lang="fr-FR" dirty="0"/>
              <a:t>Taux de couverture PV</a:t>
            </a:r>
          </a:p>
          <a:p>
            <a:endParaRPr lang="fr-FR" dirty="0"/>
          </a:p>
          <a:p>
            <a:r>
              <a:rPr lang="fr-FR" dirty="0"/>
              <a:t>Culture</a:t>
            </a:r>
          </a:p>
          <a:p>
            <a:endParaRPr lang="fr-FR" dirty="0"/>
          </a:p>
          <a:p>
            <a:r>
              <a:rPr lang="fr-FR" dirty="0"/>
              <a:t>Date clef du cycle de la cul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EA4759-6F64-1373-B589-10C63C508ED0}"/>
              </a:ext>
            </a:extLst>
          </p:cNvPr>
          <p:cNvSpPr/>
          <p:nvPr/>
        </p:nvSpPr>
        <p:spPr>
          <a:xfrm>
            <a:off x="3817741" y="1349796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149103-F9BE-3861-00D7-99130FB2A99D}"/>
              </a:ext>
            </a:extLst>
          </p:cNvPr>
          <p:cNvSpPr/>
          <p:nvPr/>
        </p:nvSpPr>
        <p:spPr>
          <a:xfrm>
            <a:off x="3817740" y="1868208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BC4661-E6D1-00C8-8CE8-7FA1B7817478}"/>
              </a:ext>
            </a:extLst>
          </p:cNvPr>
          <p:cNvSpPr/>
          <p:nvPr/>
        </p:nvSpPr>
        <p:spPr>
          <a:xfrm>
            <a:off x="3817740" y="2386620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F3BAF0-013E-772C-E916-5C9E87BEA9D8}"/>
              </a:ext>
            </a:extLst>
          </p:cNvPr>
          <p:cNvSpPr/>
          <p:nvPr/>
        </p:nvSpPr>
        <p:spPr>
          <a:xfrm>
            <a:off x="3817739" y="293222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A06392-9E3A-095E-FEA1-B0B4B804F452}"/>
              </a:ext>
            </a:extLst>
          </p:cNvPr>
          <p:cNvSpPr/>
          <p:nvPr/>
        </p:nvSpPr>
        <p:spPr>
          <a:xfrm>
            <a:off x="3817738" y="3441877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EDA32C-C098-1D05-F0D4-E5AF01578354}"/>
              </a:ext>
            </a:extLst>
          </p:cNvPr>
          <p:cNvSpPr/>
          <p:nvPr/>
        </p:nvSpPr>
        <p:spPr>
          <a:xfrm>
            <a:off x="3817737" y="407051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7F663E3-5565-CACA-429C-4264B2E41900}"/>
              </a:ext>
            </a:extLst>
          </p:cNvPr>
          <p:cNvSpPr/>
          <p:nvPr/>
        </p:nvSpPr>
        <p:spPr>
          <a:xfrm>
            <a:off x="3817736" y="4616068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8BD516-32F4-D140-5100-C6E4E409002D}"/>
              </a:ext>
            </a:extLst>
          </p:cNvPr>
          <p:cNvSpPr/>
          <p:nvPr/>
        </p:nvSpPr>
        <p:spPr>
          <a:xfrm>
            <a:off x="3817735" y="5208804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138CA2-E24F-281C-CE12-EB59C0E8CBEE}"/>
              </a:ext>
            </a:extLst>
          </p:cNvPr>
          <p:cNvSpPr/>
          <p:nvPr/>
        </p:nvSpPr>
        <p:spPr>
          <a:xfrm>
            <a:off x="3817735" y="5744715"/>
            <a:ext cx="1947333" cy="3693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 à rentrer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AE921CD-9215-1D26-C7A5-021B4A10FDC9}"/>
              </a:ext>
            </a:extLst>
          </p:cNvPr>
          <p:cNvSpPr/>
          <p:nvPr/>
        </p:nvSpPr>
        <p:spPr>
          <a:xfrm>
            <a:off x="6026331" y="1367746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A1144DE-19FE-A44D-9C8C-11B19AA07913}"/>
              </a:ext>
            </a:extLst>
          </p:cNvPr>
          <p:cNvSpPr/>
          <p:nvPr/>
        </p:nvSpPr>
        <p:spPr>
          <a:xfrm>
            <a:off x="6026331" y="1904109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B2A8790-7D90-34D2-76ED-49C2DA9FAD09}"/>
              </a:ext>
            </a:extLst>
          </p:cNvPr>
          <p:cNvSpPr/>
          <p:nvPr/>
        </p:nvSpPr>
        <p:spPr>
          <a:xfrm>
            <a:off x="6026331" y="2422521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CA3BC54-F2E7-90C3-70E2-A5B411CDBC24}"/>
              </a:ext>
            </a:extLst>
          </p:cNvPr>
          <p:cNvSpPr/>
          <p:nvPr/>
        </p:nvSpPr>
        <p:spPr>
          <a:xfrm>
            <a:off x="6026331" y="2988253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CCD6F5B-FFD0-A905-7C20-92AFBF41A8E2}"/>
              </a:ext>
            </a:extLst>
          </p:cNvPr>
          <p:cNvSpPr/>
          <p:nvPr/>
        </p:nvSpPr>
        <p:spPr>
          <a:xfrm>
            <a:off x="6026331" y="4043028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9FF66D0-183B-282D-ADEE-35F781056383}"/>
              </a:ext>
            </a:extLst>
          </p:cNvPr>
          <p:cNvSpPr/>
          <p:nvPr/>
        </p:nvSpPr>
        <p:spPr>
          <a:xfrm>
            <a:off x="6026331" y="4613179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CABA5E72-F035-DF36-057B-C97E00C11D15}"/>
              </a:ext>
            </a:extLst>
          </p:cNvPr>
          <p:cNvSpPr/>
          <p:nvPr/>
        </p:nvSpPr>
        <p:spPr>
          <a:xfrm>
            <a:off x="6026331" y="5149542"/>
            <a:ext cx="330928" cy="333431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?</a:t>
            </a:r>
          </a:p>
        </p:txBody>
      </p:sp>
      <p:sp>
        <p:nvSpPr>
          <p:cNvPr id="25" name="Bulle narrative : rectangle 24">
            <a:extLst>
              <a:ext uri="{FF2B5EF4-FFF2-40B4-BE49-F238E27FC236}">
                <a16:creationId xmlns:a16="http://schemas.microsoft.com/office/drawing/2014/main" id="{125E2075-9107-9157-0ABB-BD731786C868}"/>
              </a:ext>
            </a:extLst>
          </p:cNvPr>
          <p:cNvSpPr/>
          <p:nvPr/>
        </p:nvSpPr>
        <p:spPr>
          <a:xfrm>
            <a:off x="6618517" y="1257694"/>
            <a:ext cx="5395684" cy="922867"/>
          </a:xfrm>
          <a:prstGeom prst="wedgeRectCallout">
            <a:avLst>
              <a:gd name="adj1" fmla="val -57032"/>
              <a:gd name="adj2" fmla="val 3956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a profondeur à laquelle les plantes peuvent développer ses racines. Elle peut être déterminé par la plante ou par la profondeur totale du sol.</a:t>
            </a:r>
          </a:p>
        </p:txBody>
      </p:sp>
      <p:sp>
        <p:nvSpPr>
          <p:cNvPr id="28" name="Bulle narrative : rectangle 27">
            <a:extLst>
              <a:ext uri="{FF2B5EF4-FFF2-40B4-BE49-F238E27FC236}">
                <a16:creationId xmlns:a16="http://schemas.microsoft.com/office/drawing/2014/main" id="{43BA3F7A-13DE-A68F-FC90-C8137EC5421B}"/>
              </a:ext>
            </a:extLst>
          </p:cNvPr>
          <p:cNvSpPr/>
          <p:nvPr/>
        </p:nvSpPr>
        <p:spPr>
          <a:xfrm>
            <a:off x="6618517" y="4233989"/>
            <a:ext cx="5395684" cy="915553"/>
          </a:xfrm>
          <a:prstGeom prst="wedgeRectCallout">
            <a:avLst>
              <a:gd name="adj1" fmla="val -57816"/>
              <a:gd name="adj2" fmla="val 797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e taux de couverture photovoltaïque correspond au pourcentage de l’aire des panneaux photovoltaïques par rapport à la superficie du champ</a:t>
            </a:r>
          </a:p>
        </p:txBody>
      </p:sp>
      <p:sp>
        <p:nvSpPr>
          <p:cNvPr id="20" name="Bulle narrative : rectangle 19">
            <a:extLst>
              <a:ext uri="{FF2B5EF4-FFF2-40B4-BE49-F238E27FC236}">
                <a16:creationId xmlns:a16="http://schemas.microsoft.com/office/drawing/2014/main" id="{F5E669D9-4610-6B39-9392-B93492539591}"/>
              </a:ext>
            </a:extLst>
          </p:cNvPr>
          <p:cNvSpPr/>
          <p:nvPr/>
        </p:nvSpPr>
        <p:spPr>
          <a:xfrm>
            <a:off x="6533295" y="2386620"/>
            <a:ext cx="5395684" cy="922867"/>
          </a:xfrm>
          <a:prstGeom prst="wedgeRectCallout">
            <a:avLst>
              <a:gd name="adj1" fmla="val -57032"/>
              <a:gd name="adj2" fmla="val 3956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La densité apparente est le poids sec pour un volume donné (une motte ou le sol complet). Si vous ne la connaissez pas, laissez le champs vide</a:t>
            </a:r>
          </a:p>
        </p:txBody>
      </p:sp>
    </p:spTree>
    <p:extLst>
      <p:ext uri="{BB962C8B-B14F-4D97-AF65-F5344CB8AC3E}">
        <p14:creationId xmlns:p14="http://schemas.microsoft.com/office/powerpoint/2010/main" val="7359923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EE5D2DB-CCE4-D031-794C-576769F550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8C48169-4FA0-638E-1355-6F631E84F3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401EDCC-B14E-607A-DD40-7265041FC72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1EA5D8D7-37A2-D0F7-DF3B-46893E209361}"/>
              </a:ext>
            </a:extLst>
          </p:cNvPr>
          <p:cNvSpPr txBox="1">
            <a:spLocks/>
          </p:cNvSpPr>
          <p:nvPr/>
        </p:nvSpPr>
        <p:spPr>
          <a:xfrm>
            <a:off x="169528" y="53897"/>
            <a:ext cx="1045387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50" b="1" i="0">
                <a:solidFill>
                  <a:schemeClr val="tx1"/>
                </a:solidFill>
                <a:latin typeface="Baloo 2"/>
                <a:ea typeface="+mj-ea"/>
                <a:cs typeface="Baloo 2"/>
              </a:defRPr>
            </a:lvl1pPr>
          </a:lstStyle>
          <a:p>
            <a:r>
              <a:rPr lang="fr-FR" kern="0" dirty="0">
                <a:solidFill>
                  <a:srgbClr val="00C9FF"/>
                </a:solidFill>
              </a:rPr>
              <a:t>Interface Résultat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00000000-0008-0000-02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6247379"/>
              </p:ext>
            </p:extLst>
          </p:nvPr>
        </p:nvGraphicFramePr>
        <p:xfrm>
          <a:off x="-2523" y="2811462"/>
          <a:ext cx="8856132" cy="3571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1368B25-E1A9-6F04-351B-EFDAF86DD1BF}"/>
              </a:ext>
            </a:extLst>
          </p:cNvPr>
          <p:cNvSpPr/>
          <p:nvPr/>
        </p:nvSpPr>
        <p:spPr>
          <a:xfrm>
            <a:off x="8895942" y="2243664"/>
            <a:ext cx="2669525" cy="3386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chemeClr val="tx1"/>
                </a:solidFill>
              </a:rPr>
              <a:t>Penman-Monteih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BBF846-6C56-D547-919D-A639CEC4548A}"/>
              </a:ext>
            </a:extLst>
          </p:cNvPr>
          <p:cNvSpPr/>
          <p:nvPr/>
        </p:nvSpPr>
        <p:spPr>
          <a:xfrm>
            <a:off x="8895942" y="4359691"/>
            <a:ext cx="2669525" cy="33866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Historiqu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459270-1CAA-C08F-DB4B-99CA94CCBB3C}"/>
              </a:ext>
            </a:extLst>
          </p:cNvPr>
          <p:cNvSpPr/>
          <p:nvPr/>
        </p:nvSpPr>
        <p:spPr>
          <a:xfrm>
            <a:off x="11565467" y="2243664"/>
            <a:ext cx="381000" cy="33866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F7E608-F92B-672F-60F3-3E52EB2BAF25}"/>
              </a:ext>
            </a:extLst>
          </p:cNvPr>
          <p:cNvSpPr/>
          <p:nvPr/>
        </p:nvSpPr>
        <p:spPr>
          <a:xfrm>
            <a:off x="11565467" y="4359691"/>
            <a:ext cx="381000" cy="33866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Graphique 22" descr="Jouer avec un remplissage uni">
            <a:extLst>
              <a:ext uri="{FF2B5EF4-FFF2-40B4-BE49-F238E27FC236}">
                <a16:creationId xmlns:a16="http://schemas.microsoft.com/office/drawing/2014/main" id="{DA20DEC2-6244-211F-505E-CA22C0E225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11586633" y="2243664"/>
            <a:ext cx="338667" cy="338667"/>
          </a:xfrm>
          <a:prstGeom prst="rect">
            <a:avLst/>
          </a:prstGeom>
        </p:spPr>
      </p:pic>
      <p:pic>
        <p:nvPicPr>
          <p:cNvPr id="13" name="Graphique 22" descr="Jouer avec un remplissage uni">
            <a:extLst>
              <a:ext uri="{FF2B5EF4-FFF2-40B4-BE49-F238E27FC236}">
                <a16:creationId xmlns:a16="http://schemas.microsoft.com/office/drawing/2014/main" id="{8D430443-F6EE-9B1C-3B3D-D6EB9B1AE8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11565467" y="4359690"/>
            <a:ext cx="338667" cy="338667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CCDB3759-261C-C394-ECE1-2A2A8E75C042}"/>
              </a:ext>
            </a:extLst>
          </p:cNvPr>
          <p:cNvSpPr txBox="1"/>
          <p:nvPr/>
        </p:nvSpPr>
        <p:spPr>
          <a:xfrm>
            <a:off x="8895942" y="1591731"/>
            <a:ext cx="3050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éthode de calcul de l’ETP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F56734F6-74DF-E161-A568-6BE3A7B472DA}"/>
              </a:ext>
            </a:extLst>
          </p:cNvPr>
          <p:cNvSpPr txBox="1"/>
          <p:nvPr/>
        </p:nvSpPr>
        <p:spPr>
          <a:xfrm>
            <a:off x="8895942" y="3872353"/>
            <a:ext cx="3050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cénario envisagé</a:t>
            </a:r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00000000-0008-0000-02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4643333"/>
              </p:ext>
            </p:extLst>
          </p:nvPr>
        </p:nvGraphicFramePr>
        <p:xfrm>
          <a:off x="0" y="583642"/>
          <a:ext cx="8500533" cy="229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6090E98E-89B5-A3D2-6310-B67CE9FFDF2F}"/>
              </a:ext>
            </a:extLst>
          </p:cNvPr>
          <p:cNvSpPr txBox="1"/>
          <p:nvPr/>
        </p:nvSpPr>
        <p:spPr>
          <a:xfrm>
            <a:off x="8906494" y="5694234"/>
            <a:ext cx="31915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+ Option pour parcourir les graphiques à la souris</a:t>
            </a:r>
          </a:p>
        </p:txBody>
      </p:sp>
    </p:spTree>
    <p:extLst>
      <p:ext uri="{BB962C8B-B14F-4D97-AF65-F5344CB8AC3E}">
        <p14:creationId xmlns:p14="http://schemas.microsoft.com/office/powerpoint/2010/main" val="3307486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070DB42-B383-1428-536A-183110D3966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t>3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D24EE0B-1053-9E6F-4426-4630E020A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1284031"/>
            <a:ext cx="8343900" cy="1661993"/>
          </a:xfrm>
        </p:spPr>
        <p:txBody>
          <a:bodyPr/>
          <a:lstStyle/>
          <a:p>
            <a:r>
              <a:rPr lang="fr-FR" dirty="0"/>
              <a:t>Formule de </a:t>
            </a:r>
            <a:r>
              <a:rPr lang="fr-FR" dirty="0" err="1"/>
              <a:t>Penman-Monteith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79F7E1C-37AA-67C7-C531-722DC335C8F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1. </a:t>
            </a:r>
          </a:p>
        </p:txBody>
      </p:sp>
    </p:spTree>
    <p:extLst>
      <p:ext uri="{BB962C8B-B14F-4D97-AF65-F5344CB8AC3E}">
        <p14:creationId xmlns:p14="http://schemas.microsoft.com/office/powerpoint/2010/main" val="3019210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BDA41B4-7F7D-0D81-62F9-0E7A452D52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1137" y="6636589"/>
            <a:ext cx="2537491" cy="303673"/>
          </a:xfrm>
        </p:spPr>
        <p:txBody>
          <a:bodyPr/>
          <a:lstStyle/>
          <a:p>
            <a:r>
              <a:rPr lang="fr-FR" dirty="0"/>
              <a:t>Juillet 2023</a:t>
            </a:r>
          </a:p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8CAB234-637C-EFAD-619B-FAC53C9E87E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6F15528-21DE-4FAA-801E-634DDDAF4B2B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TUR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0612" y="3564285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4269844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4E014C-F9FD-CB2F-D5E3-C0A5B02372DF}"/>
              </a:ext>
            </a:extLst>
          </p:cNvPr>
          <p:cNvSpPr/>
          <p:nvPr/>
        </p:nvSpPr>
        <p:spPr>
          <a:xfrm>
            <a:off x="510612" y="5228908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(</a:t>
            </a:r>
            <a:r>
              <a:rPr lang="fr-FR" dirty="0" err="1"/>
              <a:t>Hr</a:t>
            </a:r>
            <a:r>
              <a:rPr lang="fr-FR" dirty="0"/>
              <a:t>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Rectangle : coins arrondis 15">
                <a:extLst>
                  <a:ext uri="{FF2B5EF4-FFF2-40B4-BE49-F238E27FC236}">
                    <a16:creationId xmlns:a16="http://schemas.microsoft.com/office/drawing/2014/main" id="{F3173823-65EE-379F-50C5-AAC1FF8A3AEF}"/>
                  </a:ext>
                </a:extLst>
              </p:cNvPr>
              <p:cNvSpPr/>
              <p:nvPr/>
            </p:nvSpPr>
            <p:spPr>
              <a:xfrm>
                <a:off x="5161194" y="3013170"/>
                <a:ext cx="3645000" cy="977069"/>
              </a:xfrm>
              <a:prstGeom prst="roundRect">
                <a:avLst>
                  <a:gd name="adj" fmla="val 50000"/>
                </a:avLst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0,013</m:t>
                      </m:r>
                      <m:r>
                        <a:rPr lang="fr-FR" i="1" smtClean="0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fr-FR" i="1" smtClean="0">
                          <a:latin typeface="Cambria Math" panose="02040503050406030204" pitchFamily="18" charset="0"/>
                        </a:rPr>
                        <m:t> × 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𝐼𝑔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+50</m:t>
                          </m:r>
                        </m:e>
                      </m:d>
                      <m:r>
                        <a:rPr lang="fr-FR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f>
                        <m:f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+15</m:t>
                          </m:r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16" name="Rectangle : coins arrondis 15">
                <a:extLst>
                  <a:ext uri="{FF2B5EF4-FFF2-40B4-BE49-F238E27FC236}">
                    <a16:creationId xmlns:a16="http://schemas.microsoft.com/office/drawing/2014/main" id="{F3173823-65EE-379F-50C5-AAC1FF8A3AE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1194" y="3013170"/>
                <a:ext cx="3645000" cy="977069"/>
              </a:xfrm>
              <a:prstGeom prst="roundRect">
                <a:avLst>
                  <a:gd name="adj" fmla="val 50000"/>
                </a:avLst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Rectangle : coins arrondis 16">
                <a:extLst>
                  <a:ext uri="{FF2B5EF4-FFF2-40B4-BE49-F238E27FC236}">
                    <a16:creationId xmlns:a16="http://schemas.microsoft.com/office/drawing/2014/main" id="{E2CA90E0-0DEF-B151-268B-B3E68DA78B96}"/>
                  </a:ext>
                </a:extLst>
              </p:cNvPr>
              <p:cNvSpPr/>
              <p:nvPr/>
            </p:nvSpPr>
            <p:spPr>
              <a:xfrm>
                <a:off x="5161194" y="5153142"/>
                <a:ext cx="3645000" cy="1076199"/>
              </a:xfrm>
              <a:prstGeom prst="roundRect">
                <a:avLst>
                  <a:gd name="adj" fmla="val 50000"/>
                </a:avLst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0,013</m:t>
                      </m:r>
                      <m:r>
                        <a:rPr lang="fr-FR" i="1" smtClean="0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fr-FR" i="1" smtClean="0">
                          <a:latin typeface="Cambria Math" panose="02040503050406030204" pitchFamily="18" charset="0"/>
                        </a:rPr>
                        <m:t> × 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𝐼𝑔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+50</m:t>
                          </m:r>
                        </m:e>
                      </m:d>
                      <m:r>
                        <a:rPr lang="fr-FR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 </m:t>
                      </m:r>
                      <m:f>
                        <m:f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+15</m:t>
                          </m:r>
                        </m:den>
                      </m:f>
                      <m:r>
                        <a:rPr lang="fr-FR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r-FR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fr-FR" i="1">
                          <a:latin typeface="Cambria Math" panose="02040503050406030204" pitchFamily="18" charset="0"/>
                        </a:rPr>
                        <m:t>1+</m:t>
                      </m:r>
                      <m:f>
                        <m:f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50 −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𝐻𝑟</m:t>
                          </m:r>
                        </m:num>
                        <m:den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70</m:t>
                          </m:r>
                        </m:den>
                      </m:f>
                      <m:r>
                        <a:rPr lang="fr-FR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17" name="Rectangle : coins arrondis 16">
                <a:extLst>
                  <a:ext uri="{FF2B5EF4-FFF2-40B4-BE49-F238E27FC236}">
                    <a16:creationId xmlns:a16="http://schemas.microsoft.com/office/drawing/2014/main" id="{E2CA90E0-0DEF-B151-268B-B3E68DA78B9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1194" y="5153142"/>
                <a:ext cx="3645000" cy="1076199"/>
              </a:xfrm>
              <a:prstGeom prst="roundRect">
                <a:avLst>
                  <a:gd name="adj" fmla="val 50000"/>
                </a:avLst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5483412" y="2499364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Hr</a:t>
            </a:r>
            <a:r>
              <a:rPr lang="fr-FR" dirty="0"/>
              <a:t> &gt; 50 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3F81AB-10AC-DAAF-D027-538C9E774C92}"/>
              </a:ext>
            </a:extLst>
          </p:cNvPr>
          <p:cNvSpPr/>
          <p:nvPr/>
        </p:nvSpPr>
        <p:spPr>
          <a:xfrm>
            <a:off x="5483412" y="4639336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Hr</a:t>
            </a:r>
            <a:r>
              <a:rPr lang="fr-FR" dirty="0"/>
              <a:t> &lt; 50 %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87BEC3-D17D-5E3A-F40F-87C335FECB86}"/>
              </a:ext>
            </a:extLst>
          </p:cNvPr>
          <p:cNvSpPr/>
          <p:nvPr/>
        </p:nvSpPr>
        <p:spPr>
          <a:xfrm>
            <a:off x="10854076" y="4357218"/>
            <a:ext cx="1066798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TP</a:t>
            </a:r>
          </a:p>
        </p:txBody>
      </p: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3D4161F2-0A24-B021-443C-7DFDC82DD4E4}"/>
              </a:ext>
            </a:extLst>
          </p:cNvPr>
          <p:cNvCxnSpPr>
            <a:stCxn id="13" idx="3"/>
            <a:endCxn id="16" idx="1"/>
          </p:cNvCxnSpPr>
          <p:nvPr/>
        </p:nvCxnSpPr>
        <p:spPr>
          <a:xfrm flipV="1">
            <a:off x="3113313" y="3501705"/>
            <a:ext cx="2047881" cy="2715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884273B2-2A3F-9F91-A659-F7989DC6FB1D}"/>
              </a:ext>
            </a:extLst>
          </p:cNvPr>
          <p:cNvCxnSpPr>
            <a:stCxn id="14" idx="3"/>
            <a:endCxn id="16" idx="1"/>
          </p:cNvCxnSpPr>
          <p:nvPr/>
        </p:nvCxnSpPr>
        <p:spPr>
          <a:xfrm flipV="1">
            <a:off x="3113313" y="3501705"/>
            <a:ext cx="2047881" cy="10251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0A01D453-AF8E-077A-49B3-5F4B0EC9B264}"/>
              </a:ext>
            </a:extLst>
          </p:cNvPr>
          <p:cNvCxnSpPr>
            <a:stCxn id="15" idx="3"/>
            <a:endCxn id="16" idx="1"/>
          </p:cNvCxnSpPr>
          <p:nvPr/>
        </p:nvCxnSpPr>
        <p:spPr>
          <a:xfrm flipV="1">
            <a:off x="3113313" y="3501705"/>
            <a:ext cx="2047881" cy="1936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FE8AEF08-24B3-6421-F6F2-517907C5F99D}"/>
              </a:ext>
            </a:extLst>
          </p:cNvPr>
          <p:cNvCxnSpPr>
            <a:stCxn id="13" idx="3"/>
            <a:endCxn id="17" idx="1"/>
          </p:cNvCxnSpPr>
          <p:nvPr/>
        </p:nvCxnSpPr>
        <p:spPr>
          <a:xfrm>
            <a:off x="3113313" y="3773291"/>
            <a:ext cx="2047881" cy="19179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82A1719C-B28B-DA5B-CBA3-0256A3642FD6}"/>
              </a:ext>
            </a:extLst>
          </p:cNvPr>
          <p:cNvCxnSpPr>
            <a:stCxn id="14" idx="3"/>
            <a:endCxn id="17" idx="1"/>
          </p:cNvCxnSpPr>
          <p:nvPr/>
        </p:nvCxnSpPr>
        <p:spPr>
          <a:xfrm>
            <a:off x="3113313" y="4526891"/>
            <a:ext cx="2047881" cy="11643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E5279C88-FEDD-4C73-2349-83736614CC56}"/>
              </a:ext>
            </a:extLst>
          </p:cNvPr>
          <p:cNvCxnSpPr>
            <a:stCxn id="15" idx="3"/>
            <a:endCxn id="17" idx="1"/>
          </p:cNvCxnSpPr>
          <p:nvPr/>
        </p:nvCxnSpPr>
        <p:spPr>
          <a:xfrm>
            <a:off x="3113313" y="5437914"/>
            <a:ext cx="2047881" cy="253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4D69F4B8-ED12-63FA-0A05-B9344872E035}"/>
              </a:ext>
            </a:extLst>
          </p:cNvPr>
          <p:cNvCxnSpPr>
            <a:stCxn id="16" idx="3"/>
            <a:endCxn id="20" idx="1"/>
          </p:cNvCxnSpPr>
          <p:nvPr/>
        </p:nvCxnSpPr>
        <p:spPr>
          <a:xfrm>
            <a:off x="8806194" y="3501705"/>
            <a:ext cx="2047882" cy="1112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DD1B4F01-C975-C97B-57C4-6EF7AEA6C247}"/>
              </a:ext>
            </a:extLst>
          </p:cNvPr>
          <p:cNvCxnSpPr>
            <a:stCxn id="17" idx="3"/>
            <a:endCxn id="20" idx="1"/>
          </p:cNvCxnSpPr>
          <p:nvPr/>
        </p:nvCxnSpPr>
        <p:spPr>
          <a:xfrm flipV="1">
            <a:off x="8806194" y="4614121"/>
            <a:ext cx="2047882" cy="1077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 : avec coins arrondis en haut 6">
            <a:extLst>
              <a:ext uri="{FF2B5EF4-FFF2-40B4-BE49-F238E27FC236}">
                <a16:creationId xmlns:a16="http://schemas.microsoft.com/office/drawing/2014/main" id="{64C90091-0FA0-19C0-1CD7-DD08ADD2D8B4}"/>
              </a:ext>
            </a:extLst>
          </p:cNvPr>
          <p:cNvSpPr/>
          <p:nvPr/>
        </p:nvSpPr>
        <p:spPr>
          <a:xfrm>
            <a:off x="510611" y="92387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journalières récupérées</a:t>
            </a:r>
          </a:p>
        </p:txBody>
      </p:sp>
      <p:sp>
        <p:nvSpPr>
          <p:cNvPr id="8" name="Rectangle : avec coins arrondis en haut 7">
            <a:extLst>
              <a:ext uri="{FF2B5EF4-FFF2-40B4-BE49-F238E27FC236}">
                <a16:creationId xmlns:a16="http://schemas.microsoft.com/office/drawing/2014/main" id="{25698AC7-ED81-8FA2-0342-26EB62CB4C65}"/>
              </a:ext>
            </a:extLst>
          </p:cNvPr>
          <p:cNvSpPr/>
          <p:nvPr/>
        </p:nvSpPr>
        <p:spPr>
          <a:xfrm>
            <a:off x="5674809" y="919118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Formule de calcul</a:t>
            </a:r>
          </a:p>
        </p:txBody>
      </p:sp>
    </p:spTree>
    <p:extLst>
      <p:ext uri="{BB962C8B-B14F-4D97-AF65-F5344CB8AC3E}">
        <p14:creationId xmlns:p14="http://schemas.microsoft.com/office/powerpoint/2010/main" val="3638573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275371F6-A391-4FD7-4F84-C73218EEA71B}"/>
                  </a:ext>
                </a:extLst>
              </p:cNvPr>
              <p:cNvSpPr txBox="1"/>
              <p:nvPr/>
            </p:nvSpPr>
            <p:spPr>
              <a:xfrm>
                <a:off x="2834642" y="946746"/>
                <a:ext cx="7058297" cy="9939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smtClean="0">
                          <a:latin typeface="Cambria Math" panose="02040503050406030204" pitchFamily="18" charset="0"/>
                        </a:rPr>
                        <m:t>𝐸𝑇</m:t>
                      </m:r>
                      <m:r>
                        <a:rPr lang="fr-FR" i="0">
                          <a:latin typeface="Cambria Math" panose="02040503050406030204" pitchFamily="18" charset="0"/>
                        </a:rPr>
                        <m:t>0= </m:t>
                      </m:r>
                      <m:f>
                        <m:fPr>
                          <m:ctrlPr>
                            <a:rPr lang="fr-FR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0,408× ∆ ×</m:t>
                          </m:r>
                          <m:d>
                            <m:d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Ig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fr-FR" i="0">
                                  <a:latin typeface="Cambria Math" panose="02040503050406030204" pitchFamily="18" charset="0"/>
                                </a:rPr>
                                <m:t>G</m:t>
                              </m:r>
                            </m:e>
                          </m:d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 </m:t>
                          </m:r>
                          <m:f>
                            <m:fPr>
                              <m:ctrlPr>
                                <a:rPr lang="fr-FR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37</m:t>
                              </m:r>
                            </m:num>
                            <m:den>
                              <m:r>
                                <m:rPr>
                                  <m:sty m:val="p"/>
                                </m:rPr>
                                <a:rPr lang="fr-FR" b="0" i="0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+273</m:t>
                              </m:r>
                            </m:den>
                          </m:f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fr-FR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fr-FR" b="0" i="1" baseline="-25000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  <m:r>
                                <a:rPr lang="fr-FR" i="1" baseline="-2500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d>
                        </m:num>
                        <m:den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∆+ </m:t>
                          </m:r>
                          <m:r>
                            <m:rPr>
                              <m:sty m:val="p"/>
                            </m:rPr>
                            <a:rPr lang="fr-FR" i="0">
                              <a:latin typeface="Cambria Math" panose="02040503050406030204" pitchFamily="18" charset="0"/>
                            </a:rPr>
                            <m:t>γ</m:t>
                          </m:r>
                          <m:r>
                            <a:rPr lang="fr-FR" i="0">
                              <a:latin typeface="Cambria Math" panose="02040503050406030204" pitchFamily="18" charset="0"/>
                            </a:rPr>
                            <m:t> ×</m:t>
                          </m:r>
                          <m:d>
                            <m:dPr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1+ </m:t>
                              </m:r>
                              <m:f>
                                <m:fPr>
                                  <m:ctrlPr>
                                    <a:rPr lang="fr-FR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fr-FR" i="1">
                                      <a:latin typeface="Cambria Math" panose="02040503050406030204" pitchFamily="18" charset="0"/>
                                    </a:rPr>
                                    <m:t>𝑟𝑠</m:t>
                                  </m:r>
                                </m:num>
                                <m:den>
                                  <m:r>
                                    <a:rPr lang="fr-FR" i="0">
                                      <a:latin typeface="Cambria Math" panose="02040503050406030204" pitchFamily="18" charset="0"/>
                                    </a:rPr>
                                    <m:t>208</m:t>
                                  </m:r>
                                </m:den>
                              </m:f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r-FR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fr-FR" i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275371F6-A391-4FD7-4F84-C73218EEA7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4642" y="946746"/>
                <a:ext cx="7058297" cy="993926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oneTexte 4">
            <a:extLst>
              <a:ext uri="{FF2B5EF4-FFF2-40B4-BE49-F238E27FC236}">
                <a16:creationId xmlns:a16="http://schemas.microsoft.com/office/drawing/2014/main" id="{2131983C-CA60-E5BE-B80E-C8774489F9A1}"/>
              </a:ext>
            </a:extLst>
          </p:cNvPr>
          <p:cNvSpPr txBox="1"/>
          <p:nvPr/>
        </p:nvSpPr>
        <p:spPr>
          <a:xfrm>
            <a:off x="408010" y="1045029"/>
            <a:ext cx="4555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Formule horaire :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2B1E671-CAE4-F155-EEA6-82D9053BA16E}"/>
              </a:ext>
            </a:extLst>
          </p:cNvPr>
          <p:cNvSpPr txBox="1"/>
          <p:nvPr/>
        </p:nvSpPr>
        <p:spPr>
          <a:xfrm>
            <a:off x="191588" y="2038955"/>
            <a:ext cx="8905529" cy="4365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0 évapotranspiration de référence (mm/h),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n rayonnement net (W.m-2),    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 flux de chaleur du sol (W.m-2),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 : longueur du pas de temps en k secondes (d=3.6 10-3 </a:t>
            </a:r>
            <a:r>
              <a:rPr lang="fr-FR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s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 température moyenne horaire de l’air (°C), 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∆ pente de la courbe de la tension de vapeur saturante (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, 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 Constante psychrométrique (kPa.°C-1), 		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tension de vapeur à la température t (kPa), 		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fr-FR" sz="1800" kern="100" baseline="-25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ension de vapeur saturante (kPa), 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fr-FR" sz="1800" kern="100" baseline="-25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tesse moyenne du vent à 2 m (m.s-1).					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s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a résistance du couvert végétal (s.m-1)				</a:t>
            </a:r>
          </a:p>
        </p:txBody>
      </p:sp>
    </p:spTree>
    <p:extLst>
      <p:ext uri="{BB962C8B-B14F-4D97-AF65-F5344CB8AC3E}">
        <p14:creationId xmlns:p14="http://schemas.microsoft.com/office/powerpoint/2010/main" val="1448595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Lien open </a:t>
            </a:r>
            <a:r>
              <a:rPr lang="fr-FR" dirty="0" err="1">
                <a:solidFill>
                  <a:srgbClr val="00C9FF"/>
                </a:solidFill>
              </a:rPr>
              <a:t>meteo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7EDE5A7-174B-B63B-6554-9383083BA147}"/>
              </a:ext>
            </a:extLst>
          </p:cNvPr>
          <p:cNvSpPr txBox="1"/>
          <p:nvPr/>
        </p:nvSpPr>
        <p:spPr>
          <a:xfrm>
            <a:off x="271128" y="1287270"/>
            <a:ext cx="1181080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"https://archive-api.open-meteo.com/v1/</a:t>
            </a:r>
            <a:r>
              <a:rPr lang="fr-FR" dirty="0" err="1"/>
              <a:t>archive?latitude</a:t>
            </a:r>
            <a:r>
              <a:rPr lang="fr-FR" dirty="0"/>
              <a:t>=" </a:t>
            </a:r>
            <a:r>
              <a:rPr lang="fr-FR" dirty="0">
                <a:solidFill>
                  <a:srgbClr val="C00000"/>
                </a:solidFill>
              </a:rPr>
              <a:t>&amp; </a:t>
            </a:r>
            <a:r>
              <a:rPr lang="fr-FR" dirty="0" err="1">
                <a:solidFill>
                  <a:srgbClr val="C00000"/>
                </a:solidFill>
              </a:rPr>
              <a:t>lattitude</a:t>
            </a:r>
            <a:r>
              <a:rPr lang="fr-FR" dirty="0">
                <a:solidFill>
                  <a:srgbClr val="C00000"/>
                </a:solidFill>
              </a:rPr>
              <a:t> &amp; </a:t>
            </a:r>
            <a:r>
              <a:rPr lang="fr-FR" dirty="0"/>
              <a:t>"&amp;longitude=" </a:t>
            </a:r>
            <a:r>
              <a:rPr lang="fr-FR" dirty="0">
                <a:solidFill>
                  <a:srgbClr val="C00000"/>
                </a:solidFill>
              </a:rPr>
              <a:t>&amp; longitude &amp; </a:t>
            </a:r>
            <a:r>
              <a:rPr lang="fr-FR" dirty="0"/>
              <a:t>"&amp;</a:t>
            </a:r>
            <a:r>
              <a:rPr lang="fr-FR" dirty="0" err="1"/>
              <a:t>start_date</a:t>
            </a:r>
            <a:r>
              <a:rPr lang="fr-FR" dirty="0"/>
              <a:t>=" </a:t>
            </a:r>
            <a:r>
              <a:rPr lang="fr-FR" dirty="0">
                <a:solidFill>
                  <a:srgbClr val="C00000"/>
                </a:solidFill>
              </a:rPr>
              <a:t>&amp; semi &amp; </a:t>
            </a:r>
            <a:r>
              <a:rPr lang="fr-FR" dirty="0"/>
              <a:t>"&amp;</a:t>
            </a:r>
            <a:r>
              <a:rPr lang="fr-FR" dirty="0" err="1"/>
              <a:t>end_date</a:t>
            </a:r>
            <a:r>
              <a:rPr lang="fr-FR" dirty="0"/>
              <a:t>=" </a:t>
            </a:r>
            <a:r>
              <a:rPr lang="fr-FR" dirty="0">
                <a:solidFill>
                  <a:srgbClr val="C00000"/>
                </a:solidFill>
              </a:rPr>
              <a:t>&amp; </a:t>
            </a:r>
            <a:r>
              <a:rPr lang="fr-FR" dirty="0" err="1">
                <a:solidFill>
                  <a:srgbClr val="C00000"/>
                </a:solidFill>
              </a:rPr>
              <a:t>recolte</a:t>
            </a:r>
            <a:r>
              <a:rPr lang="fr-FR" dirty="0">
                <a:solidFill>
                  <a:srgbClr val="C00000"/>
                </a:solidFill>
              </a:rPr>
              <a:t> &amp; </a:t>
            </a:r>
            <a:r>
              <a:rPr lang="fr-FR" dirty="0"/>
              <a:t>"&amp;</a:t>
            </a:r>
            <a:r>
              <a:rPr lang="fr-FR" dirty="0" err="1"/>
              <a:t>hourly</a:t>
            </a:r>
            <a:r>
              <a:rPr lang="fr-FR" dirty="0"/>
              <a:t>=temperature_2m,precipitation,windspeed_10m,relativehumidity_2m,surface_pressure,direct_radiation,diffuse_radiation&amp;timezone=</a:t>
            </a:r>
            <a:r>
              <a:rPr lang="fr-FR" dirty="0" err="1"/>
              <a:t>auto&amp;min</a:t>
            </a:r>
            <a:r>
              <a:rPr lang="fr-FR" dirty="0"/>
              <a:t>=2023-05-26&amp;max=2023-06-09"</a:t>
            </a:r>
          </a:p>
        </p:txBody>
      </p:sp>
    </p:spTree>
    <p:extLst>
      <p:ext uri="{BB962C8B-B14F-4D97-AF65-F5344CB8AC3E}">
        <p14:creationId xmlns:p14="http://schemas.microsoft.com/office/powerpoint/2010/main" val="38759746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0612" y="2348850"/>
            <a:ext cx="260270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3259645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4E014C-F9FD-CB2F-D5E3-C0A5B02372DF}"/>
              </a:ext>
            </a:extLst>
          </p:cNvPr>
          <p:cNvSpPr/>
          <p:nvPr/>
        </p:nvSpPr>
        <p:spPr>
          <a:xfrm>
            <a:off x="510612" y="4218709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(</a:t>
            </a:r>
            <a:r>
              <a:rPr lang="fr-FR" dirty="0" err="1"/>
              <a:t>H</a:t>
            </a:r>
            <a:r>
              <a:rPr lang="fr-FR" baseline="-25000" dirty="0" err="1"/>
              <a:t>r</a:t>
            </a:r>
            <a:r>
              <a:rPr lang="fr-FR" dirty="0"/>
              <a:t>) (%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4787060" y="2189391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Flux de chaleur G (w.m²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4B84F9-CAC2-D703-1247-581B4F7FA770}"/>
              </a:ext>
            </a:extLst>
          </p:cNvPr>
          <p:cNvSpPr/>
          <p:nvPr/>
        </p:nvSpPr>
        <p:spPr>
          <a:xfrm>
            <a:off x="510611" y="4984672"/>
            <a:ext cx="2602701" cy="53304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10 m (m/s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C4EF11-0981-88AD-2A42-37B165073279}"/>
              </a:ext>
            </a:extLst>
          </p:cNvPr>
          <p:cNvSpPr/>
          <p:nvPr/>
        </p:nvSpPr>
        <p:spPr>
          <a:xfrm>
            <a:off x="7643471" y="1932488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Ig</a:t>
            </a:r>
            <a:r>
              <a:rPr lang="fr-FR" dirty="0"/>
              <a:t> &gt; 10 : G = 0,1*</a:t>
            </a:r>
            <a:r>
              <a:rPr lang="fr-FR" dirty="0" err="1"/>
              <a:t>Ig</a:t>
            </a:r>
            <a:r>
              <a:rPr lang="fr-FR" dirty="0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49F747-5497-8609-1DFA-06F936A2B082}"/>
              </a:ext>
            </a:extLst>
          </p:cNvPr>
          <p:cNvSpPr/>
          <p:nvPr/>
        </p:nvSpPr>
        <p:spPr>
          <a:xfrm>
            <a:off x="7650479" y="2482790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Ig</a:t>
            </a:r>
            <a:r>
              <a:rPr lang="fr-FR" dirty="0"/>
              <a:t> &lt; 10 : G = 0,5*</a:t>
            </a:r>
            <a:r>
              <a:rPr lang="fr-FR" dirty="0" err="1"/>
              <a:t>Ig</a:t>
            </a:r>
            <a:endParaRPr lang="fr-FR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1FD908-6A4B-3355-7897-B0C8D5D06E48}"/>
              </a:ext>
            </a:extLst>
          </p:cNvPr>
          <p:cNvSpPr/>
          <p:nvPr/>
        </p:nvSpPr>
        <p:spPr>
          <a:xfrm>
            <a:off x="4787059" y="4171404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ésistance extérieure </a:t>
            </a:r>
            <a:r>
              <a:rPr lang="fr-FR" dirty="0" err="1"/>
              <a:t>Rs</a:t>
            </a:r>
            <a:r>
              <a:rPr lang="fr-FR" dirty="0"/>
              <a:t> (s/m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5EDF71A-8D9A-F6A1-0C3F-EE2408EC99BE}"/>
              </a:ext>
            </a:extLst>
          </p:cNvPr>
          <p:cNvSpPr/>
          <p:nvPr/>
        </p:nvSpPr>
        <p:spPr>
          <a:xfrm>
            <a:off x="7656529" y="3965942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Ig</a:t>
            </a:r>
            <a:r>
              <a:rPr lang="fr-FR" dirty="0"/>
              <a:t> &gt; 10 : </a:t>
            </a:r>
            <a:r>
              <a:rPr lang="fr-FR" dirty="0" err="1"/>
              <a:t>Rs</a:t>
            </a:r>
            <a:r>
              <a:rPr lang="fr-FR" dirty="0"/>
              <a:t> = 70,1</a:t>
            </a:r>
            <a:endParaRPr lang="fr-FR" baseline="300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904CC6-1579-5546-B67D-5C05CD25EBFA}"/>
              </a:ext>
            </a:extLst>
          </p:cNvPr>
          <p:cNvSpPr/>
          <p:nvPr/>
        </p:nvSpPr>
        <p:spPr>
          <a:xfrm>
            <a:off x="7643470" y="4509699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i </a:t>
            </a:r>
            <a:r>
              <a:rPr lang="fr-FR" dirty="0" err="1"/>
              <a:t>Ig</a:t>
            </a:r>
            <a:r>
              <a:rPr lang="fr-FR" dirty="0"/>
              <a:t> &lt; 10 : </a:t>
            </a:r>
            <a:r>
              <a:rPr lang="fr-FR" dirty="0" err="1"/>
              <a:t>Rs</a:t>
            </a:r>
            <a:r>
              <a:rPr lang="fr-FR" dirty="0"/>
              <a:t> = 700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1337E40C-982D-0049-DAAD-0C09993B8DCE}"/>
              </a:ext>
            </a:extLst>
          </p:cNvPr>
          <p:cNvCxnSpPr>
            <a:cxnSpLocks/>
            <a:stCxn id="13" idx="3"/>
            <a:endCxn id="18" idx="1"/>
          </p:cNvCxnSpPr>
          <p:nvPr/>
        </p:nvCxnSpPr>
        <p:spPr>
          <a:xfrm flipV="1">
            <a:off x="3113313" y="2446294"/>
            <a:ext cx="1673747" cy="2141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AF73F60E-A087-D6D9-6DE3-7B86C79972BD}"/>
              </a:ext>
            </a:extLst>
          </p:cNvPr>
          <p:cNvSpPr/>
          <p:nvPr/>
        </p:nvSpPr>
        <p:spPr>
          <a:xfrm>
            <a:off x="510610" y="5847655"/>
            <a:ext cx="2602701" cy="53304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ression à la surface (P</a:t>
            </a:r>
            <a:r>
              <a:rPr lang="fr-FR" baseline="-25000" dirty="0"/>
              <a:t>r</a:t>
            </a:r>
            <a:r>
              <a:rPr lang="fr-FR" dirty="0"/>
              <a:t>) (kPa)</a:t>
            </a:r>
          </a:p>
        </p:txBody>
      </p:sp>
      <p:cxnSp>
        <p:nvCxnSpPr>
          <p:cNvPr id="49" name="Connecteur droit avec flèche 48">
            <a:extLst>
              <a:ext uri="{FF2B5EF4-FFF2-40B4-BE49-F238E27FC236}">
                <a16:creationId xmlns:a16="http://schemas.microsoft.com/office/drawing/2014/main" id="{8A25666A-C54E-F26B-06C2-396C2CADC6CF}"/>
              </a:ext>
            </a:extLst>
          </p:cNvPr>
          <p:cNvCxnSpPr>
            <a:cxnSpLocks/>
            <a:stCxn id="13" idx="3"/>
            <a:endCxn id="24" idx="1"/>
          </p:cNvCxnSpPr>
          <p:nvPr/>
        </p:nvCxnSpPr>
        <p:spPr>
          <a:xfrm>
            <a:off x="3113313" y="2660474"/>
            <a:ext cx="1673746" cy="18509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 : avec coins arrondis en haut 51">
            <a:extLst>
              <a:ext uri="{FF2B5EF4-FFF2-40B4-BE49-F238E27FC236}">
                <a16:creationId xmlns:a16="http://schemas.microsoft.com/office/drawing/2014/main" id="{E1E63433-31C9-8B3C-882F-723334F82990}"/>
              </a:ext>
            </a:extLst>
          </p:cNvPr>
          <p:cNvSpPr/>
          <p:nvPr/>
        </p:nvSpPr>
        <p:spPr>
          <a:xfrm>
            <a:off x="510611" y="92387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53" name="Rectangle : avec coins arrondis en haut 52">
            <a:extLst>
              <a:ext uri="{FF2B5EF4-FFF2-40B4-BE49-F238E27FC236}">
                <a16:creationId xmlns:a16="http://schemas.microsoft.com/office/drawing/2014/main" id="{ED755BEB-3C25-3B23-554B-0F0F009A5744}"/>
              </a:ext>
            </a:extLst>
          </p:cNvPr>
          <p:cNvSpPr/>
          <p:nvPr/>
        </p:nvSpPr>
        <p:spPr>
          <a:xfrm>
            <a:off x="6336661" y="923869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lcul des constantes</a:t>
            </a:r>
          </a:p>
        </p:txBody>
      </p:sp>
    </p:spTree>
    <p:extLst>
      <p:ext uri="{BB962C8B-B14F-4D97-AF65-F5344CB8AC3E}">
        <p14:creationId xmlns:p14="http://schemas.microsoft.com/office/powerpoint/2010/main" val="2603073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0612" y="2348850"/>
            <a:ext cx="260270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3259645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4E014C-F9FD-CB2F-D5E3-C0A5B02372DF}"/>
              </a:ext>
            </a:extLst>
          </p:cNvPr>
          <p:cNvSpPr/>
          <p:nvPr/>
        </p:nvSpPr>
        <p:spPr>
          <a:xfrm>
            <a:off x="510612" y="4218709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(</a:t>
            </a:r>
            <a:r>
              <a:rPr lang="fr-FR" dirty="0" err="1"/>
              <a:t>H</a:t>
            </a:r>
            <a:r>
              <a:rPr lang="fr-FR" baseline="-25000" dirty="0" err="1"/>
              <a:t>r</a:t>
            </a:r>
            <a:r>
              <a:rPr lang="fr-FR" dirty="0"/>
              <a:t>) (%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4787060" y="3280659"/>
            <a:ext cx="2856411" cy="623248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</a:t>
            </a:r>
            <a:r>
              <a:rPr lang="fr-FR" dirty="0" err="1"/>
              <a:t>e</a:t>
            </a:r>
            <a:r>
              <a:rPr lang="fr-FR" baseline="-25000" dirty="0" err="1"/>
              <a:t>w</a:t>
            </a:r>
            <a:r>
              <a:rPr lang="fr-FR" dirty="0"/>
              <a:t> (kPa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4B84F9-CAC2-D703-1247-581B4F7FA770}"/>
              </a:ext>
            </a:extLst>
          </p:cNvPr>
          <p:cNvSpPr/>
          <p:nvPr/>
        </p:nvSpPr>
        <p:spPr>
          <a:xfrm>
            <a:off x="510611" y="4984672"/>
            <a:ext cx="2602701" cy="60187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10 m (m/s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0C4EF11-0981-88AD-2A42-37B165073279}"/>
                  </a:ext>
                </a:extLst>
              </p:cNvPr>
              <p:cNvSpPr/>
              <p:nvPr/>
            </p:nvSpPr>
            <p:spPr>
              <a:xfrm>
                <a:off x="7656529" y="3280659"/>
                <a:ext cx="3608004" cy="625425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m:rPr>
                          <m:sty m:val="p"/>
                        </m:rPr>
                        <a:rPr lang="fr-FR" b="0" i="0" baseline="-25000" smtClean="0">
                          <a:latin typeface="Cambria Math" panose="02040503050406030204" pitchFamily="18" charset="0"/>
                        </a:rPr>
                        <m:t>w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)=0,6108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7,27×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237,3</m:t>
                              </m:r>
                            </m:den>
                          </m:f>
                        </m:sup>
                      </m:sSup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0C4EF11-0981-88AD-2A42-37B1650732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6529" y="3280659"/>
                <a:ext cx="3608004" cy="6254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ectangle 21">
            <a:extLst>
              <a:ext uri="{FF2B5EF4-FFF2-40B4-BE49-F238E27FC236}">
                <a16:creationId xmlns:a16="http://schemas.microsoft.com/office/drawing/2014/main" id="{7C49F747-5497-8609-1DFA-06F936A2B082}"/>
              </a:ext>
            </a:extLst>
          </p:cNvPr>
          <p:cNvSpPr/>
          <p:nvPr/>
        </p:nvSpPr>
        <p:spPr>
          <a:xfrm>
            <a:off x="4800118" y="4825014"/>
            <a:ext cx="2856411" cy="802619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nsion à la vapeur saturante à la température T e (kPa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1FD908-6A4B-3355-7897-B0C8D5D06E48}"/>
              </a:ext>
            </a:extLst>
          </p:cNvPr>
          <p:cNvSpPr/>
          <p:nvPr/>
        </p:nvSpPr>
        <p:spPr>
          <a:xfrm>
            <a:off x="4800118" y="1734598"/>
            <a:ext cx="2856411" cy="839371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ente de la courbe de la tension saturante 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∆ ((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</a:t>
            </a:r>
            <a:endParaRPr lang="fr-FR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5EDF71A-8D9A-F6A1-0C3F-EE2408EC99BE}"/>
                  </a:ext>
                </a:extLst>
              </p:cNvPr>
              <p:cNvSpPr/>
              <p:nvPr/>
            </p:nvSpPr>
            <p:spPr>
              <a:xfrm>
                <a:off x="7656529" y="1734599"/>
                <a:ext cx="3608004" cy="852606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fr-FR" kern="1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∆</m:t>
                      </m:r>
                      <m:r>
                        <m:rPr>
                          <m:nor/>
                        </m:rPr>
                        <a:rPr lang="fr-FR" b="0" i="0" kern="1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 = </m:t>
                      </m:r>
                      <m:f>
                        <m:fPr>
                          <m:ctrlPr>
                            <a:rPr lang="fr-FR" b="0" i="1" kern="100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fr-FR" b="0" i="1" kern="100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4098 </m:t>
                          </m:r>
                          <m:r>
                            <a:rPr lang="fr-FR" b="0" i="1" kern="10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×(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0,6108</m:t>
                          </m:r>
                          <m: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r-FR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f>
                                <m:fPr>
                                  <m:ctrlPr>
                                    <a:rPr lang="fr-F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fr-F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7,27×</m:t>
                                  </m:r>
                                  <m:r>
                                    <a:rPr lang="fr-F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num>
                                <m:den>
                                  <m:r>
                                    <a:rPr lang="fr-FR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  <m:r>
                                    <a:rPr lang="fr-FR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237,3</m:t>
                                  </m:r>
                                </m:den>
                              </m:f>
                            </m:sup>
                          </m:sSup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fr-FR" b="0" i="1" kern="100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(</m:t>
                          </m:r>
                          <m:r>
                            <a:rPr lang="fr-FR" b="0" i="1" kern="100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  <m:r>
                            <a:rPr lang="fr-FR" b="0" i="1" kern="10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×237,3)²</m:t>
                          </m:r>
                        </m:den>
                      </m:f>
                    </m:oMath>
                  </m:oMathPara>
                </a14:m>
                <a:endParaRPr lang="fr-FR" baseline="30000" dirty="0"/>
              </a:p>
            </p:txBody>
          </p:sp>
        </mc:Choice>
        <mc:Fallback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5EDF71A-8D9A-F6A1-0C3F-EE2408EC99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6529" y="1734599"/>
                <a:ext cx="3608004" cy="8526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904CC6-1579-5546-B67D-5C05CD25EBFA}"/>
                  </a:ext>
                </a:extLst>
              </p:cNvPr>
              <p:cNvSpPr/>
              <p:nvPr/>
            </p:nvSpPr>
            <p:spPr>
              <a:xfrm>
                <a:off x="7656529" y="4825015"/>
                <a:ext cx="3608004" cy="802618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e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r-FR"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m:rPr>
                              <m:sty m:val="p"/>
                            </m:rPr>
                            <a:rPr lang="fr-FR" baseline="-25000">
                              <a:latin typeface="Cambria Math" panose="02040503050406030204" pitchFamily="18" charset="0"/>
                            </a:rPr>
                            <m:t>w</m:t>
                          </m:r>
                          <m:r>
                            <a:rPr lang="fr-FR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fr-FR" b="0" i="0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𝐻𝑟</m:t>
                          </m:r>
                        </m:num>
                        <m:den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den>
                      </m:f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9904CC6-1579-5546-B67D-5C05CD25EB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6529" y="4825015"/>
                <a:ext cx="3608004" cy="80261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1337E40C-982D-0049-DAAD-0C09993B8DCE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>
            <a:off x="3113313" y="3516692"/>
            <a:ext cx="1673747" cy="755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9F30673A-B014-061D-9CCD-E1C427BEE614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 flipV="1">
            <a:off x="3113313" y="2154284"/>
            <a:ext cx="1686805" cy="1362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30267064-1467-2381-81FE-52C047E49914}"/>
              </a:ext>
            </a:extLst>
          </p:cNvPr>
          <p:cNvCxnSpPr>
            <a:cxnSpLocks/>
            <a:stCxn id="18" idx="2"/>
            <a:endCxn id="22" idx="0"/>
          </p:cNvCxnSpPr>
          <p:nvPr/>
        </p:nvCxnSpPr>
        <p:spPr>
          <a:xfrm>
            <a:off x="6215266" y="3903907"/>
            <a:ext cx="13058" cy="921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42648BDB-21EF-20DE-FB21-65DE663BD0C1}"/>
              </a:ext>
            </a:extLst>
          </p:cNvPr>
          <p:cNvCxnSpPr>
            <a:cxnSpLocks/>
            <a:stCxn id="15" idx="3"/>
            <a:endCxn id="22" idx="1"/>
          </p:cNvCxnSpPr>
          <p:nvPr/>
        </p:nvCxnSpPr>
        <p:spPr>
          <a:xfrm>
            <a:off x="3113313" y="4427715"/>
            <a:ext cx="1686805" cy="7986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15F8240F-3DBA-9635-4F77-0D715E60646E}"/>
              </a:ext>
            </a:extLst>
          </p:cNvPr>
          <p:cNvSpPr/>
          <p:nvPr/>
        </p:nvSpPr>
        <p:spPr>
          <a:xfrm>
            <a:off x="510610" y="5847655"/>
            <a:ext cx="2602701" cy="53304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ression à la surface (P</a:t>
            </a:r>
            <a:r>
              <a:rPr lang="fr-FR" baseline="-25000" dirty="0"/>
              <a:t>r</a:t>
            </a:r>
            <a:r>
              <a:rPr lang="fr-FR" dirty="0"/>
              <a:t>) (kPa)</a:t>
            </a:r>
          </a:p>
        </p:txBody>
      </p:sp>
      <p:sp>
        <p:nvSpPr>
          <p:cNvPr id="43" name="Rectangle : avec coins arrondis en haut 42">
            <a:extLst>
              <a:ext uri="{FF2B5EF4-FFF2-40B4-BE49-F238E27FC236}">
                <a16:creationId xmlns:a16="http://schemas.microsoft.com/office/drawing/2014/main" id="{897DEFCE-D0BA-FF3F-BF0C-93BE280C3B86}"/>
              </a:ext>
            </a:extLst>
          </p:cNvPr>
          <p:cNvSpPr/>
          <p:nvPr/>
        </p:nvSpPr>
        <p:spPr>
          <a:xfrm>
            <a:off x="510611" y="92387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44" name="Rectangle : avec coins arrondis en haut 43">
            <a:extLst>
              <a:ext uri="{FF2B5EF4-FFF2-40B4-BE49-F238E27FC236}">
                <a16:creationId xmlns:a16="http://schemas.microsoft.com/office/drawing/2014/main" id="{64EF10B8-C1C1-764D-1883-25D246A5F455}"/>
              </a:ext>
            </a:extLst>
          </p:cNvPr>
          <p:cNvSpPr/>
          <p:nvPr/>
        </p:nvSpPr>
        <p:spPr>
          <a:xfrm>
            <a:off x="6336661" y="923869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lcul des constantes</a:t>
            </a:r>
          </a:p>
        </p:txBody>
      </p:sp>
    </p:spTree>
    <p:extLst>
      <p:ext uri="{BB962C8B-B14F-4D97-AF65-F5344CB8AC3E}">
        <p14:creationId xmlns:p14="http://schemas.microsoft.com/office/powerpoint/2010/main" val="1440915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184C84-0ACA-7E3E-5CF3-8A371D1FCB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8010" y="6630982"/>
            <a:ext cx="3645000" cy="290849"/>
          </a:xfrm>
        </p:spPr>
        <p:txBody>
          <a:bodyPr/>
          <a:lstStyle/>
          <a:p>
            <a:r>
              <a:rPr lang="fr-FR" dirty="0"/>
              <a:t>Cahier des charges Bilan Hydrique</a:t>
            </a:r>
          </a:p>
          <a:p>
            <a:endParaRPr lang="fr-FR" dirty="0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639E1ACF-92AF-FCE8-DEF2-B07BC9D50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28" y="275258"/>
            <a:ext cx="10453879" cy="623248"/>
          </a:xfrm>
        </p:spPr>
        <p:txBody>
          <a:bodyPr/>
          <a:lstStyle/>
          <a:p>
            <a:r>
              <a:rPr lang="fr-FR" dirty="0">
                <a:solidFill>
                  <a:srgbClr val="00C9FF"/>
                </a:solidFill>
              </a:rPr>
              <a:t>Formule de </a:t>
            </a:r>
            <a:r>
              <a:rPr lang="fr-FR" dirty="0" err="1">
                <a:solidFill>
                  <a:srgbClr val="00C9FF"/>
                </a:solidFill>
              </a:rPr>
              <a:t>Penman-monteith</a:t>
            </a:r>
            <a:endParaRPr lang="fr-FR" dirty="0">
              <a:solidFill>
                <a:srgbClr val="00C9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03914D-16DF-2AAE-8C26-28C6218B4723}"/>
              </a:ext>
            </a:extLst>
          </p:cNvPr>
          <p:cNvSpPr/>
          <p:nvPr/>
        </p:nvSpPr>
        <p:spPr>
          <a:xfrm>
            <a:off x="510612" y="2348850"/>
            <a:ext cx="2602701" cy="62324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rradiance globale (</a:t>
            </a:r>
            <a:r>
              <a:rPr lang="fr-FR" dirty="0" err="1"/>
              <a:t>Ig</a:t>
            </a:r>
            <a:r>
              <a:rPr lang="fr-FR" dirty="0"/>
              <a:t>) (w.m²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726DA-683B-94E9-4DA1-0AD3411647EF}"/>
              </a:ext>
            </a:extLst>
          </p:cNvPr>
          <p:cNvSpPr/>
          <p:nvPr/>
        </p:nvSpPr>
        <p:spPr>
          <a:xfrm>
            <a:off x="510612" y="3259645"/>
            <a:ext cx="2602701" cy="51409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Température moyenne de l’air (T) (°C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4E014C-F9FD-CB2F-D5E3-C0A5B02372DF}"/>
              </a:ext>
            </a:extLst>
          </p:cNvPr>
          <p:cNvSpPr/>
          <p:nvPr/>
        </p:nvSpPr>
        <p:spPr>
          <a:xfrm>
            <a:off x="510612" y="4218709"/>
            <a:ext cx="2602701" cy="4180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Humidité (</a:t>
            </a:r>
            <a:r>
              <a:rPr lang="fr-FR" dirty="0" err="1"/>
              <a:t>H</a:t>
            </a:r>
            <a:r>
              <a:rPr lang="fr-FR" baseline="-25000" dirty="0" err="1"/>
              <a:t>r</a:t>
            </a:r>
            <a:r>
              <a:rPr lang="fr-FR" dirty="0"/>
              <a:t>) (%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125F7C-E210-69F2-765D-AF92B4FE2E7E}"/>
              </a:ext>
            </a:extLst>
          </p:cNvPr>
          <p:cNvSpPr/>
          <p:nvPr/>
        </p:nvSpPr>
        <p:spPr>
          <a:xfrm>
            <a:off x="4794068" y="5847655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ante 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ychrométrique γ (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Pa</a:t>
            </a:r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fr-FR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C),</a:t>
            </a: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4B84F9-CAC2-D703-1247-581B4F7FA770}"/>
              </a:ext>
            </a:extLst>
          </p:cNvPr>
          <p:cNvSpPr/>
          <p:nvPr/>
        </p:nvSpPr>
        <p:spPr>
          <a:xfrm>
            <a:off x="510611" y="4984671"/>
            <a:ext cx="2602701" cy="63763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10 m V</a:t>
            </a:r>
            <a:r>
              <a:rPr lang="fr-FR" baseline="-25000" dirty="0"/>
              <a:t>10</a:t>
            </a:r>
            <a:r>
              <a:rPr lang="fr-FR" dirty="0"/>
              <a:t>(m/s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49F747-5497-8609-1DFA-06F936A2B082}"/>
              </a:ext>
            </a:extLst>
          </p:cNvPr>
          <p:cNvSpPr/>
          <p:nvPr/>
        </p:nvSpPr>
        <p:spPr>
          <a:xfrm>
            <a:off x="7656529" y="5847655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 = 0,000665*P</a:t>
            </a:r>
            <a:r>
              <a:rPr lang="fr-FR" kern="100" baseline="-25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endParaRPr lang="fr-FR" baseline="-25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1FD908-6A4B-3355-7897-B0C8D5D06E48}"/>
              </a:ext>
            </a:extLst>
          </p:cNvPr>
          <p:cNvSpPr/>
          <p:nvPr/>
        </p:nvSpPr>
        <p:spPr>
          <a:xfrm>
            <a:off x="4787059" y="4171404"/>
            <a:ext cx="2856411" cy="680110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Vitesse de vent à 2 m V</a:t>
            </a:r>
            <a:r>
              <a:rPr lang="fr-FR" baseline="-25000" dirty="0"/>
              <a:t>2</a:t>
            </a:r>
            <a:r>
              <a:rPr lang="fr-FR" dirty="0"/>
              <a:t> (m/s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5EDF71A-8D9A-F6A1-0C3F-EE2408EC99BE}"/>
                  </a:ext>
                </a:extLst>
              </p:cNvPr>
              <p:cNvSpPr/>
              <p:nvPr/>
            </p:nvSpPr>
            <p:spPr>
              <a:xfrm>
                <a:off x="7656529" y="3970577"/>
                <a:ext cx="2856411" cy="1081763"/>
              </a:xfrm>
              <a:prstGeom prst="rect">
                <a:avLst/>
              </a:prstGeom>
              <a:solidFill>
                <a:srgbClr val="00B685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smtClean="0">
                          <a:latin typeface="Cambria Math" panose="02040503050406030204" pitchFamily="18" charset="0"/>
                        </a:rPr>
                        <m:t>v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2=</m:t>
                      </m:r>
                      <m:r>
                        <m:rPr>
                          <m:sty m:val="p"/>
                        </m:rPr>
                        <a:rPr lang="fr-FR" b="0" i="0" smtClean="0">
                          <a:latin typeface="Cambria Math" panose="02040503050406030204" pitchFamily="18" charset="0"/>
                        </a:rPr>
                        <m:t>v</m:t>
                      </m:r>
                      <m:r>
                        <a:rPr lang="fr-FR" b="0" i="0" smtClean="0">
                          <a:latin typeface="Cambria Math" panose="02040503050406030204" pitchFamily="18" charset="0"/>
                        </a:rPr>
                        <m:t>10 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den>
                          </m:f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r-FR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</m:t>
                          </m:r>
                          <m:f>
                            <m:f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0</m:t>
                              </m:r>
                            </m:num>
                            <m:den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𝑍</m:t>
                              </m:r>
                              <m:r>
                                <a:rPr lang="fr-FR" b="0" i="1" baseline="-2500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den>
                          </m:f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fr-FR" baseline="30000" dirty="0"/>
              </a:p>
            </p:txBody>
          </p:sp>
        </mc:Choice>
        <mc:Fallback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5EDF71A-8D9A-F6A1-0C3F-EE2408EC99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6529" y="3970577"/>
                <a:ext cx="2856411" cy="10817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185F8A60-F9E1-685F-A1FE-6135F8D4E7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1337E40C-982D-0049-DAAD-0C09993B8DCE}"/>
              </a:ext>
            </a:extLst>
          </p:cNvPr>
          <p:cNvCxnSpPr>
            <a:cxnSpLocks/>
            <a:stCxn id="4" idx="3"/>
            <a:endCxn id="18" idx="1"/>
          </p:cNvCxnSpPr>
          <p:nvPr/>
        </p:nvCxnSpPr>
        <p:spPr>
          <a:xfrm flipV="1">
            <a:off x="3113311" y="6104558"/>
            <a:ext cx="1680757" cy="96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9F30673A-B014-061D-9CCD-E1C427BEE614}"/>
              </a:ext>
            </a:extLst>
          </p:cNvPr>
          <p:cNvCxnSpPr>
            <a:cxnSpLocks/>
            <a:stCxn id="2" idx="3"/>
            <a:endCxn id="24" idx="1"/>
          </p:cNvCxnSpPr>
          <p:nvPr/>
        </p:nvCxnSpPr>
        <p:spPr>
          <a:xfrm flipV="1">
            <a:off x="3113312" y="4511459"/>
            <a:ext cx="1673747" cy="792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4D888047-405B-F753-EDD5-FF679D982C18}"/>
              </a:ext>
            </a:extLst>
          </p:cNvPr>
          <p:cNvSpPr/>
          <p:nvPr/>
        </p:nvSpPr>
        <p:spPr>
          <a:xfrm>
            <a:off x="510610" y="5847655"/>
            <a:ext cx="2602701" cy="53304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ression à la surface (P</a:t>
            </a:r>
            <a:r>
              <a:rPr lang="fr-FR" baseline="-25000" dirty="0"/>
              <a:t>r</a:t>
            </a:r>
            <a:r>
              <a:rPr lang="fr-FR" dirty="0"/>
              <a:t>) (kPa)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E3D682D-F4CB-713E-DEE2-B2AEC9C3F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3010" y="1029744"/>
            <a:ext cx="7721997" cy="2057506"/>
          </a:xfrm>
          <a:prstGeom prst="rect">
            <a:avLst/>
          </a:prstGeom>
        </p:spPr>
      </p:pic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0403CEFC-FC27-727A-DAC6-0BDBB5DE7A58}"/>
              </a:ext>
            </a:extLst>
          </p:cNvPr>
          <p:cNvCxnSpPr>
            <a:cxnSpLocks/>
            <a:stCxn id="25" idx="2"/>
            <a:endCxn id="24" idx="0"/>
          </p:cNvCxnSpPr>
          <p:nvPr/>
        </p:nvCxnSpPr>
        <p:spPr>
          <a:xfrm>
            <a:off x="5590903" y="3493069"/>
            <a:ext cx="624362" cy="6783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485EBF0-8F5D-238F-A9E6-1CCBEB5F4784}"/>
              </a:ext>
            </a:extLst>
          </p:cNvPr>
          <p:cNvSpPr/>
          <p:nvPr/>
        </p:nvSpPr>
        <p:spPr>
          <a:xfrm>
            <a:off x="4110567" y="1788412"/>
            <a:ext cx="7624234" cy="843872"/>
          </a:xfrm>
          <a:prstGeom prst="rect">
            <a:avLst/>
          </a:prstGeom>
          <a:solidFill>
            <a:srgbClr val="00B685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3A514E-BB31-87A3-71CE-E5865FC1F788}"/>
              </a:ext>
            </a:extLst>
          </p:cNvPr>
          <p:cNvSpPr/>
          <p:nvPr/>
        </p:nvSpPr>
        <p:spPr>
          <a:xfrm>
            <a:off x="4162697" y="2979263"/>
            <a:ext cx="2856411" cy="513806"/>
          </a:xfrm>
          <a:prstGeom prst="rect">
            <a:avLst/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onstante de rugosité z</a:t>
            </a:r>
            <a:r>
              <a:rPr lang="fr-FR" baseline="-25000" dirty="0"/>
              <a:t>0</a:t>
            </a:r>
          </a:p>
        </p:txBody>
      </p:sp>
      <p:sp>
        <p:nvSpPr>
          <p:cNvPr id="29" name="Rectangle : avec coins arrondis en haut 28">
            <a:extLst>
              <a:ext uri="{FF2B5EF4-FFF2-40B4-BE49-F238E27FC236}">
                <a16:creationId xmlns:a16="http://schemas.microsoft.com/office/drawing/2014/main" id="{686B5A8F-1CE6-EE36-3AA8-C2609D223BB5}"/>
              </a:ext>
            </a:extLst>
          </p:cNvPr>
          <p:cNvSpPr/>
          <p:nvPr/>
        </p:nvSpPr>
        <p:spPr>
          <a:xfrm>
            <a:off x="510611" y="923870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504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onnées horaires récupérés</a:t>
            </a:r>
          </a:p>
        </p:txBody>
      </p:sp>
      <p:sp>
        <p:nvSpPr>
          <p:cNvPr id="30" name="Rectangle : avec coins arrondis en haut 29">
            <a:extLst>
              <a:ext uri="{FF2B5EF4-FFF2-40B4-BE49-F238E27FC236}">
                <a16:creationId xmlns:a16="http://schemas.microsoft.com/office/drawing/2014/main" id="{D7A0D509-C5A1-E8F7-568C-363310208760}"/>
              </a:ext>
            </a:extLst>
          </p:cNvPr>
          <p:cNvSpPr/>
          <p:nvPr/>
        </p:nvSpPr>
        <p:spPr>
          <a:xfrm>
            <a:off x="7643470" y="302474"/>
            <a:ext cx="2602701" cy="67927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B68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alcul des constantes</a:t>
            </a:r>
          </a:p>
        </p:txBody>
      </p:sp>
    </p:spTree>
    <p:extLst>
      <p:ext uri="{BB962C8B-B14F-4D97-AF65-F5344CB8AC3E}">
        <p14:creationId xmlns:p14="http://schemas.microsoft.com/office/powerpoint/2010/main" val="2847172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nerVivo">
      <a:dk1>
        <a:srgbClr val="000000"/>
      </a:dk1>
      <a:lt1>
        <a:srgbClr val="FFFFFF"/>
      </a:lt1>
      <a:dk2>
        <a:srgbClr val="1C7861"/>
      </a:dk2>
      <a:lt2>
        <a:srgbClr val="00B685"/>
      </a:lt2>
      <a:accent1>
        <a:srgbClr val="00C9FF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FFEBB8A7F5A44DA00C67E4558670D6" ma:contentTypeVersion="16" ma:contentTypeDescription="Crée un document." ma:contentTypeScope="" ma:versionID="d1e76593f2201dd5da31cc7d8a279258">
  <xsd:schema xmlns:xsd="http://www.w3.org/2001/XMLSchema" xmlns:xs="http://www.w3.org/2001/XMLSchema" xmlns:p="http://schemas.microsoft.com/office/2006/metadata/properties" xmlns:ns2="beb39790-1a4d-4443-ba77-b87c105a1f16" xmlns:ns3="e7b644e1-4e2e-40b8-bf16-43c9c345c565" targetNamespace="http://schemas.microsoft.com/office/2006/metadata/properties" ma:root="true" ma:fieldsID="df8da4cf88ecd2aa248f17ea0a52b0c6" ns2:_="" ns3:_="">
    <xsd:import namespace="beb39790-1a4d-4443-ba77-b87c105a1f16"/>
    <xsd:import namespace="e7b644e1-4e2e-40b8-bf16-43c9c345c5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b39790-1a4d-4443-ba77-b87c105a1f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Balises d’images" ma:readOnly="false" ma:fieldId="{5cf76f15-5ced-4ddc-b409-7134ff3c332f}" ma:taxonomyMulti="true" ma:sspId="09118329-da38-47be-acaa-a4cb92b894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644e1-4e2e-40b8-bf16-43c9c345c56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46284544-fe99-41c2-9dff-5e654479895b}" ma:internalName="TaxCatchAll" ma:showField="CatchAllData" ma:web="e7b644e1-4e2e-40b8-bf16-43c9c345c56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7b644e1-4e2e-40b8-bf16-43c9c345c565" xsi:nil="true"/>
    <lcf76f155ced4ddcb4097134ff3c332f xmlns="beb39790-1a4d-4443-ba77-b87c105a1f1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CB97F31-6DCB-4BCC-8590-2D3E709175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4BCB2F-07F7-4410-B14B-2EA5B6D413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b39790-1a4d-4443-ba77-b87c105a1f16"/>
    <ds:schemaRef ds:uri="e7b644e1-4e2e-40b8-bf16-43c9c345c5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9B4FC4-1A9A-48A8-B17E-A84309AB9EC3}">
  <ds:schemaRefs>
    <ds:schemaRef ds:uri="http://schemas.microsoft.com/office/2006/metadata/properties"/>
    <ds:schemaRef ds:uri="http://schemas.microsoft.com/office/infopath/2007/PartnerControls"/>
    <ds:schemaRef ds:uri="e7b644e1-4e2e-40b8-bf16-43c9c345c565"/>
    <ds:schemaRef ds:uri="beb39790-1a4d-4443-ba77-b87c105a1f1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632</TotalTime>
  <Words>1984</Words>
  <Application>Microsoft Office PowerPoint</Application>
  <PresentationFormat>Grand écran</PresentationFormat>
  <Paragraphs>303</Paragraphs>
  <Slides>24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1" baseType="lpstr">
      <vt:lpstr>Arial</vt:lpstr>
      <vt:lpstr>Baloo 2</vt:lpstr>
      <vt:lpstr>Calibri</vt:lpstr>
      <vt:lpstr>Cambria Math</vt:lpstr>
      <vt:lpstr>Montserrat</vt:lpstr>
      <vt:lpstr>Office Theme</vt:lpstr>
      <vt:lpstr>think-cell Slide</vt:lpstr>
      <vt:lpstr>Évolution cahier des charges de l’outils</vt:lpstr>
      <vt:lpstr>Sommaire</vt:lpstr>
      <vt:lpstr>Formule de Penman-Monteith</vt:lpstr>
      <vt:lpstr>Formule de TURC</vt:lpstr>
      <vt:lpstr>Formule de Penman-monteith</vt:lpstr>
      <vt:lpstr>Lien open meteo</vt:lpstr>
      <vt:lpstr>Formule de Penman-monteith</vt:lpstr>
      <vt:lpstr>Formule de Penman-monteith</vt:lpstr>
      <vt:lpstr>Formule de Penman-monteith</vt:lpstr>
      <vt:lpstr>Formule de Penman-monteith</vt:lpstr>
      <vt:lpstr>Impact agrivoltaïsme</vt:lpstr>
      <vt:lpstr>Impact agrivoltaïsme</vt:lpstr>
      <vt:lpstr>Impact agrivoltaïsme</vt:lpstr>
      <vt:lpstr>Donnée future</vt:lpstr>
      <vt:lpstr>Récupération des données météo futur</vt:lpstr>
      <vt:lpstr>Formule de Penman-monteith</vt:lpstr>
      <vt:lpstr>Formule de Penman-monteith</vt:lpstr>
      <vt:lpstr>Formule de Penman-monteith</vt:lpstr>
      <vt:lpstr>Interface utilisateur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ulation par un Bilan Hydrique</dc:title>
  <dc:creator>Loic Guillot</dc:creator>
  <cp:lastModifiedBy>Loic Guillot</cp:lastModifiedBy>
  <cp:revision>13</cp:revision>
  <dcterms:created xsi:type="dcterms:W3CDTF">2023-05-31T12:23:31Z</dcterms:created>
  <dcterms:modified xsi:type="dcterms:W3CDTF">2023-08-08T14:2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FFEBB8A7F5A44DA00C67E4558670D6</vt:lpwstr>
  </property>
  <property fmtid="{D5CDD505-2E9C-101B-9397-08002B2CF9AE}" pid="3" name="MediaServiceImageTags">
    <vt:lpwstr/>
  </property>
</Properties>
</file>